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7.xml" ContentType="application/vnd.openxmlformats-officedocument.presentationml.notesSlide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709" r:id="rId5"/>
  </p:sldMasterIdLst>
  <p:notesMasterIdLst>
    <p:notesMasterId r:id="rId24"/>
  </p:notesMasterIdLst>
  <p:handoutMasterIdLst>
    <p:handoutMasterId r:id="rId25"/>
  </p:handoutMasterIdLst>
  <p:sldIdLst>
    <p:sldId id="1063" r:id="rId6"/>
    <p:sldId id="1117" r:id="rId7"/>
    <p:sldId id="1046" r:id="rId8"/>
    <p:sldId id="2076137454" r:id="rId9"/>
    <p:sldId id="2076137455" r:id="rId10"/>
    <p:sldId id="2076137456" r:id="rId11"/>
    <p:sldId id="256" r:id="rId12"/>
    <p:sldId id="1104" r:id="rId13"/>
    <p:sldId id="264" r:id="rId14"/>
    <p:sldId id="265" r:id="rId15"/>
    <p:sldId id="2076137453" r:id="rId16"/>
    <p:sldId id="267" r:id="rId17"/>
    <p:sldId id="2076137457" r:id="rId18"/>
    <p:sldId id="1065" r:id="rId19"/>
    <p:sldId id="2076137435" r:id="rId20"/>
    <p:sldId id="2076137458" r:id="rId21"/>
    <p:sldId id="1126" r:id="rId22"/>
    <p:sldId id="1075" r:id="rId23"/>
  </p:sldIdLst>
  <p:sldSz cx="9144000" cy="5143500" type="screen16x9"/>
  <p:notesSz cx="6797675" cy="9926638"/>
  <p:defaultTextStyle>
    <a:defPPr>
      <a:defRPr lang="fi-FI"/>
    </a:defPPr>
    <a:lvl1pPr marL="0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1pPr>
    <a:lvl2pPr marL="339932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2pPr>
    <a:lvl3pPr marL="679871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3pPr>
    <a:lvl4pPr marL="1019807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4pPr>
    <a:lvl5pPr marL="1359744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5pPr>
    <a:lvl6pPr marL="1699681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6pPr>
    <a:lvl7pPr marL="2039614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7pPr>
    <a:lvl8pPr marL="2379548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8pPr>
    <a:lvl9pPr marL="2719486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ukonen Sini" initials="KS" lastIdx="7" clrIdx="0">
    <p:extLst>
      <p:ext uri="{19B8F6BF-5375-455C-9EA6-DF929625EA0E}">
        <p15:presenceInfo xmlns:p15="http://schemas.microsoft.com/office/powerpoint/2012/main" userId="S-1-5-21-1871869801-2214748161-1963216912-121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2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33"/>
    <a:srgbClr val="000000"/>
    <a:srgbClr val="FFFF00"/>
    <a:srgbClr val="85E869"/>
    <a:srgbClr val="FF805C"/>
    <a:srgbClr val="FF00B8"/>
    <a:srgbClr val="8A0FA6"/>
    <a:srgbClr val="141F94"/>
    <a:srgbClr val="0F78B2"/>
    <a:srgbClr val="0ACFC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Normaali tyyli 2 - Korostu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Normaali tyyli 2 - Korostus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C22544A-7EE6-4342-B048-85BDC9FD1C3A}" styleName="Normaali tyyli 2 - Korostu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Normaali tyyli 2 - Korostu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212" autoAdjust="0"/>
    <p:restoredTop sz="86016" autoAdjust="0"/>
  </p:normalViewPr>
  <p:slideViewPr>
    <p:cSldViewPr showGuides="1">
      <p:cViewPr varScale="1">
        <p:scale>
          <a:sx n="93" d="100"/>
          <a:sy n="93" d="100"/>
        </p:scale>
        <p:origin x="830" y="72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82" d="100"/>
          <a:sy n="82" d="100"/>
        </p:scale>
        <p:origin x="3972" y="8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aijomaa Helvi" userId="946834e0-53e3-4142-8575-ad9f016fd461" providerId="ADAL" clId="{15BFBA74-3645-4338-85BD-521D4AA8AE14}"/>
    <pc:docChg chg="undo custSel modSld">
      <pc:chgData name="Kaijomaa Helvi" userId="946834e0-53e3-4142-8575-ad9f016fd461" providerId="ADAL" clId="{15BFBA74-3645-4338-85BD-521D4AA8AE14}" dt="2022-05-02T10:28:41.625" v="7" actId="20577"/>
      <pc:docMkLst>
        <pc:docMk/>
      </pc:docMkLst>
      <pc:sldChg chg="modSp mod">
        <pc:chgData name="Kaijomaa Helvi" userId="946834e0-53e3-4142-8575-ad9f016fd461" providerId="ADAL" clId="{15BFBA74-3645-4338-85BD-521D4AA8AE14}" dt="2022-05-02T10:28:41.625" v="7" actId="20577"/>
        <pc:sldMkLst>
          <pc:docMk/>
          <pc:sldMk cId="3970922604" sldId="1126"/>
        </pc:sldMkLst>
        <pc:spChg chg="mod">
          <ac:chgData name="Kaijomaa Helvi" userId="946834e0-53e3-4142-8575-ad9f016fd461" providerId="ADAL" clId="{15BFBA74-3645-4338-85BD-521D4AA8AE14}" dt="2022-05-02T10:28:41.625" v="7" actId="20577"/>
          <ac:spMkLst>
            <pc:docMk/>
            <pc:sldMk cId="3970922604" sldId="1126"/>
            <ac:spMk id="6" creationId="{438E4283-469C-4E61-9967-BB1E108BD8A6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912514696725472E-2"/>
          <c:y val="5.2962930800055937E-2"/>
          <c:w val="0.90632698996125116"/>
          <c:h val="0.8537549407114624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Kasvun osuus 2007</c:v>
                </c:pt>
              </c:strCache>
            </c:strRef>
          </c:tx>
          <c:spPr>
            <a:solidFill>
              <a:srgbClr val="00FFFF"/>
            </a:solidFill>
            <a:ln w="11797">
              <a:solidFill>
                <a:srgbClr val="000000"/>
              </a:solidFill>
              <a:prstDash val="solid"/>
            </a:ln>
          </c:spPr>
          <c:invertIfNegative val="0"/>
          <c:cat>
            <c:numRef>
              <c:f>Sheet1!$A$2:$A$22</c:f>
              <c:numCache>
                <c:formatCode>General</c:formatCode>
                <c:ptCount val="21"/>
                <c:pt idx="0">
                  <c:v>0</c:v>
                </c:pt>
                <c:pt idx="1">
                  <c:v>5</c:v>
                </c:pt>
                <c:pt idx="2">
                  <c:v>10</c:v>
                </c:pt>
                <c:pt idx="3">
                  <c:v>15</c:v>
                </c:pt>
                <c:pt idx="4">
                  <c:v>20</c:v>
                </c:pt>
                <c:pt idx="5">
                  <c:v>25</c:v>
                </c:pt>
                <c:pt idx="6">
                  <c:v>30</c:v>
                </c:pt>
                <c:pt idx="7">
                  <c:v>35</c:v>
                </c:pt>
                <c:pt idx="8">
                  <c:v>40</c:v>
                </c:pt>
                <c:pt idx="9">
                  <c:v>45</c:v>
                </c:pt>
                <c:pt idx="10">
                  <c:v>50</c:v>
                </c:pt>
                <c:pt idx="11">
                  <c:v>55</c:v>
                </c:pt>
                <c:pt idx="12">
                  <c:v>60</c:v>
                </c:pt>
                <c:pt idx="13">
                  <c:v>65</c:v>
                </c:pt>
                <c:pt idx="14">
                  <c:v>70</c:v>
                </c:pt>
                <c:pt idx="15">
                  <c:v>75</c:v>
                </c:pt>
                <c:pt idx="16">
                  <c:v>80</c:v>
                </c:pt>
                <c:pt idx="17">
                  <c:v>85</c:v>
                </c:pt>
                <c:pt idx="18">
                  <c:v>90</c:v>
                </c:pt>
                <c:pt idx="19">
                  <c:v>95</c:v>
                </c:pt>
                <c:pt idx="20">
                  <c:v>100</c:v>
                </c:pt>
              </c:numCache>
            </c:numRef>
          </c:cat>
          <c:val>
            <c:numRef>
              <c:f>Sheet1!$B$2:$B$22</c:f>
              <c:numCache>
                <c:formatCode>General</c:formatCode>
                <c:ptCount val="21"/>
              </c:numCache>
            </c:numRef>
          </c:val>
          <c:extLst>
            <c:ext xmlns:c16="http://schemas.microsoft.com/office/drawing/2014/chart" uri="{C3380CC4-5D6E-409C-BE32-E72D297353CC}">
              <c16:uniqueId val="{00000000-E64D-407C-B54D-9B12CCFA0F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403762288"/>
        <c:axId val="405222624"/>
      </c:barChart>
      <c:catAx>
        <c:axId val="403762288"/>
        <c:scaling>
          <c:orientation val="minMax"/>
        </c:scaling>
        <c:delete val="0"/>
        <c:axPos val="b"/>
        <c:majorGridlines>
          <c:spPr>
            <a:ln>
              <a:solidFill>
                <a:schemeClr val="bg1"/>
              </a:solidFill>
            </a:ln>
          </c:spPr>
        </c:majorGridlines>
        <c:minorGridlines>
          <c:spPr>
            <a:ln>
              <a:solidFill>
                <a:schemeClr val="bg1"/>
              </a:solidFill>
            </a:ln>
          </c:spPr>
        </c:minorGridlines>
        <c:numFmt formatCode="General" sourceLinked="1"/>
        <c:majorTickMark val="out"/>
        <c:minorTickMark val="out"/>
        <c:tickLblPos val="nextTo"/>
        <c:spPr>
          <a:ln w="23595">
            <a:solidFill>
              <a:srgbClr val="000000">
                <a:alpha val="93000"/>
              </a:srgbClr>
            </a:solidFill>
            <a:prstDash val="solid"/>
          </a:ln>
        </c:spPr>
        <c:txPr>
          <a:bodyPr rot="0" vert="horz" anchor="ctr" anchorCtr="0"/>
          <a:lstStyle/>
          <a:p>
            <a:pPr>
              <a:defRPr/>
            </a:pPr>
            <a:endParaRPr lang="fi-FI"/>
          </a:p>
        </c:txPr>
        <c:crossAx val="405222624"/>
        <c:crossesAt val="-11"/>
        <c:auto val="1"/>
        <c:lblAlgn val="ctr"/>
        <c:lblOffset val="100"/>
        <c:tickLblSkip val="2"/>
        <c:tickMarkSkip val="1"/>
        <c:noMultiLvlLbl val="0"/>
      </c:catAx>
      <c:valAx>
        <c:axId val="405222624"/>
        <c:scaling>
          <c:orientation val="minMax"/>
          <c:max val="10"/>
          <c:min val="-10"/>
        </c:scaling>
        <c:delete val="0"/>
        <c:axPos val="l"/>
        <c:majorGridlines>
          <c:spPr>
            <a:ln w="11797">
              <a:solidFill>
                <a:srgbClr val="555555"/>
              </a:solidFill>
              <a:prstDash val="sysDash"/>
            </a:ln>
          </c:spPr>
        </c:majorGridlines>
        <c:numFmt formatCode="General" sourceLinked="1"/>
        <c:majorTickMark val="out"/>
        <c:minorTickMark val="none"/>
        <c:tickLblPos val="nextTo"/>
        <c:spPr>
          <a:ln w="2949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fi-FI"/>
          </a:p>
        </c:txPr>
        <c:crossAx val="403762288"/>
        <c:crossesAt val="0"/>
        <c:crossBetween val="midCat"/>
        <c:majorUnit val="1"/>
        <c:minorUnit val="0.5"/>
      </c:valAx>
      <c:spPr>
        <a:noFill/>
        <a:ln w="2949">
          <a:solidFill>
            <a:srgbClr val="000000"/>
          </a:solidFill>
          <a:prstDash val="solid"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50" b="0" i="0" u="none" strike="noStrike" baseline="0">
          <a:solidFill>
            <a:schemeClr val="tx2"/>
          </a:solidFill>
          <a:latin typeface="Verdana" panose="020B0604030504040204" pitchFamily="34" charset="0"/>
          <a:ea typeface="Times New Roman"/>
          <a:cs typeface="Times New Roman"/>
        </a:defRPr>
      </a:pPr>
      <a:endParaRPr lang="fi-FI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123988190465974E-2"/>
          <c:y val="4.0806818849189318E-2"/>
          <c:w val="0.92122826303919725"/>
          <c:h val="0.7611446102901647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ul1!$B$1</c:f>
              <c:strCache>
                <c:ptCount val="1"/>
                <c:pt idx="0">
                  <c:v>Tuotantomäärä laskee yli 15 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ul1!$A$2:$A$8</c:f>
              <c:strCache>
                <c:ptCount val="7"/>
                <c:pt idx="0">
                  <c:v>Kaikki</c:v>
                </c:pt>
                <c:pt idx="1">
                  <c:v>Teollisuus</c:v>
                </c:pt>
                <c:pt idx="2">
                  <c:v>Palvelualat</c:v>
                </c:pt>
                <c:pt idx="3">
                  <c:v>0-50</c:v>
                </c:pt>
                <c:pt idx="4">
                  <c:v>51-250</c:v>
                </c:pt>
                <c:pt idx="5">
                  <c:v>251-500</c:v>
                </c:pt>
                <c:pt idx="6">
                  <c:v>yli 500</c:v>
                </c:pt>
              </c:strCache>
            </c:strRef>
          </c:cat>
          <c:val>
            <c:numRef>
              <c:f>Taul1!$B$2:$B$8</c:f>
              <c:numCache>
                <c:formatCode>General</c:formatCode>
                <c:ptCount val="7"/>
                <c:pt idx="0">
                  <c:v>4.4827586206896551E-2</c:v>
                </c:pt>
                <c:pt idx="1">
                  <c:v>5.2747252747252747E-2</c:v>
                </c:pt>
                <c:pt idx="2">
                  <c:v>1.6E-2</c:v>
                </c:pt>
                <c:pt idx="3">
                  <c:v>5.7228915662650599E-2</c:v>
                </c:pt>
                <c:pt idx="4">
                  <c:v>2.6881720430107527E-2</c:v>
                </c:pt>
                <c:pt idx="5">
                  <c:v>6.25E-2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D23-4403-9CD1-9E0F9A09BBD4}"/>
            </c:ext>
          </c:extLst>
        </c:ser>
        <c:ser>
          <c:idx val="1"/>
          <c:order val="1"/>
          <c:tx>
            <c:strRef>
              <c:f>Taul1!$C$1</c:f>
              <c:strCache>
                <c:ptCount val="1"/>
                <c:pt idx="0">
                  <c:v>Tuotantomäärä laskee -5 % - -15 %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aul1!$A$2:$A$8</c:f>
              <c:strCache>
                <c:ptCount val="7"/>
                <c:pt idx="0">
                  <c:v>Kaikki</c:v>
                </c:pt>
                <c:pt idx="1">
                  <c:v>Teollisuus</c:v>
                </c:pt>
                <c:pt idx="2">
                  <c:v>Palvelualat</c:v>
                </c:pt>
                <c:pt idx="3">
                  <c:v>0-50</c:v>
                </c:pt>
                <c:pt idx="4">
                  <c:v>51-250</c:v>
                </c:pt>
                <c:pt idx="5">
                  <c:v>251-500</c:v>
                </c:pt>
                <c:pt idx="6">
                  <c:v>yli 500</c:v>
                </c:pt>
              </c:strCache>
            </c:strRef>
          </c:cat>
          <c:val>
            <c:numRef>
              <c:f>Taul1!$C$2:$C$8</c:f>
              <c:numCache>
                <c:formatCode>General</c:formatCode>
                <c:ptCount val="7"/>
                <c:pt idx="0">
                  <c:v>0.18620689655172415</c:v>
                </c:pt>
                <c:pt idx="1">
                  <c:v>0.2</c:v>
                </c:pt>
                <c:pt idx="2">
                  <c:v>0.13600000000000001</c:v>
                </c:pt>
                <c:pt idx="3">
                  <c:v>0.19879518072289157</c:v>
                </c:pt>
                <c:pt idx="4">
                  <c:v>0.16666666666666666</c:v>
                </c:pt>
                <c:pt idx="5">
                  <c:v>0.21875</c:v>
                </c:pt>
                <c:pt idx="6">
                  <c:v>0.133333333333333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D23-4403-9CD1-9E0F9A09BBD4}"/>
            </c:ext>
          </c:extLst>
        </c:ser>
        <c:ser>
          <c:idx val="2"/>
          <c:order val="2"/>
          <c:tx>
            <c:strRef>
              <c:f>Taul1!$D$1</c:f>
              <c:strCache>
                <c:ptCount val="1"/>
                <c:pt idx="0">
                  <c:v>Tuotantomäärä pysyy suurin piirtein viimevuotisella tasolla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Taul1!$A$2:$A$8</c:f>
              <c:strCache>
                <c:ptCount val="7"/>
                <c:pt idx="0">
                  <c:v>Kaikki</c:v>
                </c:pt>
                <c:pt idx="1">
                  <c:v>Teollisuus</c:v>
                </c:pt>
                <c:pt idx="2">
                  <c:v>Palvelualat</c:v>
                </c:pt>
                <c:pt idx="3">
                  <c:v>0-50</c:v>
                </c:pt>
                <c:pt idx="4">
                  <c:v>51-250</c:v>
                </c:pt>
                <c:pt idx="5">
                  <c:v>251-500</c:v>
                </c:pt>
                <c:pt idx="6">
                  <c:v>yli 500</c:v>
                </c:pt>
              </c:strCache>
            </c:strRef>
          </c:cat>
          <c:val>
            <c:numRef>
              <c:f>Taul1!$D$2:$D$8</c:f>
              <c:numCache>
                <c:formatCode>General</c:formatCode>
                <c:ptCount val="7"/>
                <c:pt idx="0">
                  <c:v>0.37413793103448278</c:v>
                </c:pt>
                <c:pt idx="1">
                  <c:v>0.37802197802197801</c:v>
                </c:pt>
                <c:pt idx="2">
                  <c:v>0.36</c:v>
                </c:pt>
                <c:pt idx="3">
                  <c:v>0.39457831325301207</c:v>
                </c:pt>
                <c:pt idx="4">
                  <c:v>0.36021505376344087</c:v>
                </c:pt>
                <c:pt idx="5">
                  <c:v>0.28125</c:v>
                </c:pt>
                <c:pt idx="6">
                  <c:v>0.333333333333333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D23-4403-9CD1-9E0F9A09BBD4}"/>
            </c:ext>
          </c:extLst>
        </c:ser>
        <c:ser>
          <c:idx val="3"/>
          <c:order val="3"/>
          <c:tx>
            <c:strRef>
              <c:f>Taul1!$E$1</c:f>
              <c:strCache>
                <c:ptCount val="1"/>
                <c:pt idx="0">
                  <c:v>Tuotantomäärä kasvaa 5 % - 15 %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Taul1!$A$2:$A$8</c:f>
              <c:strCache>
                <c:ptCount val="7"/>
                <c:pt idx="0">
                  <c:v>Kaikki</c:v>
                </c:pt>
                <c:pt idx="1">
                  <c:v>Teollisuus</c:v>
                </c:pt>
                <c:pt idx="2">
                  <c:v>Palvelualat</c:v>
                </c:pt>
                <c:pt idx="3">
                  <c:v>0-50</c:v>
                </c:pt>
                <c:pt idx="4">
                  <c:v>51-250</c:v>
                </c:pt>
                <c:pt idx="5">
                  <c:v>251-500</c:v>
                </c:pt>
                <c:pt idx="6">
                  <c:v>yli 500</c:v>
                </c:pt>
              </c:strCache>
            </c:strRef>
          </c:cat>
          <c:val>
            <c:numRef>
              <c:f>Taul1!$E$2:$E$8</c:f>
              <c:numCache>
                <c:formatCode>General</c:formatCode>
                <c:ptCount val="7"/>
                <c:pt idx="0">
                  <c:v>0.30689655172413793</c:v>
                </c:pt>
                <c:pt idx="1">
                  <c:v>0.29230769230769232</c:v>
                </c:pt>
                <c:pt idx="2">
                  <c:v>0.36</c:v>
                </c:pt>
                <c:pt idx="3">
                  <c:v>0.26807228915662651</c:v>
                </c:pt>
                <c:pt idx="4">
                  <c:v>0.33333333333333331</c:v>
                </c:pt>
                <c:pt idx="5">
                  <c:v>0.375</c:v>
                </c:pt>
                <c:pt idx="6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D23-4403-9CD1-9E0F9A09BBD4}"/>
            </c:ext>
          </c:extLst>
        </c:ser>
        <c:ser>
          <c:idx val="4"/>
          <c:order val="4"/>
          <c:tx>
            <c:strRef>
              <c:f>Taul1!$F$1</c:f>
              <c:strCache>
                <c:ptCount val="1"/>
                <c:pt idx="0">
                  <c:v>Tuotantomäärä kasvaa yli 15 %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Taul1!$A$2:$A$8</c:f>
              <c:strCache>
                <c:ptCount val="7"/>
                <c:pt idx="0">
                  <c:v>Kaikki</c:v>
                </c:pt>
                <c:pt idx="1">
                  <c:v>Teollisuus</c:v>
                </c:pt>
                <c:pt idx="2">
                  <c:v>Palvelualat</c:v>
                </c:pt>
                <c:pt idx="3">
                  <c:v>0-50</c:v>
                </c:pt>
                <c:pt idx="4">
                  <c:v>51-250</c:v>
                </c:pt>
                <c:pt idx="5">
                  <c:v>251-500</c:v>
                </c:pt>
                <c:pt idx="6">
                  <c:v>yli 500</c:v>
                </c:pt>
              </c:strCache>
            </c:strRef>
          </c:cat>
          <c:val>
            <c:numRef>
              <c:f>Taul1!$F$2:$F$8</c:f>
              <c:numCache>
                <c:formatCode>General</c:formatCode>
                <c:ptCount val="7"/>
                <c:pt idx="0">
                  <c:v>8.7931034482758616E-2</c:v>
                </c:pt>
                <c:pt idx="1">
                  <c:v>7.6923076923076927E-2</c:v>
                </c:pt>
                <c:pt idx="2">
                  <c:v>0.128</c:v>
                </c:pt>
                <c:pt idx="3">
                  <c:v>8.1325301204819275E-2</c:v>
                </c:pt>
                <c:pt idx="4">
                  <c:v>0.11290322580645161</c:v>
                </c:pt>
                <c:pt idx="5">
                  <c:v>6.25E-2</c:v>
                </c:pt>
                <c:pt idx="6">
                  <c:v>3.333333333333333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98-4B47-ADB1-8A94F0890A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54276384"/>
        <c:axId val="654277216"/>
      </c:barChart>
      <c:catAx>
        <c:axId val="6542763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654277216"/>
        <c:crosses val="autoZero"/>
        <c:auto val="1"/>
        <c:lblAlgn val="ctr"/>
        <c:lblOffset val="100"/>
        <c:noMultiLvlLbl val="0"/>
      </c:catAx>
      <c:valAx>
        <c:axId val="654277216"/>
        <c:scaling>
          <c:orientation val="minMax"/>
          <c:max val="0.70000000000000007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654276384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r"/>
      <c:layout>
        <c:manualLayout>
          <c:xMode val="edge"/>
          <c:yMode val="edge"/>
          <c:x val="1.5137892099469402E-3"/>
          <c:y val="0.8870478457875739"/>
          <c:w val="0.99697277908365856"/>
          <c:h val="0.1044339573629928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fi-FI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1"/>
          <c:order val="1"/>
          <c:tx>
            <c:strRef>
              <c:f>Taul1!$C$1</c:f>
              <c:strCache>
                <c:ptCount val="1"/>
                <c:pt idx="0">
                  <c:v>Suunnitelmia on laitettu jäihin, mutta ei vielä peruttu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aul1!$A$2:$A$8</c:f>
              <c:strCache>
                <c:ptCount val="7"/>
                <c:pt idx="0">
                  <c:v>Kaikki</c:v>
                </c:pt>
                <c:pt idx="1">
                  <c:v>Teollisuus</c:v>
                </c:pt>
                <c:pt idx="2">
                  <c:v>Palvelualat</c:v>
                </c:pt>
                <c:pt idx="3">
                  <c:v>0-50</c:v>
                </c:pt>
                <c:pt idx="4">
                  <c:v>51-250</c:v>
                </c:pt>
                <c:pt idx="5">
                  <c:v>251-500</c:v>
                </c:pt>
                <c:pt idx="6">
                  <c:v>yli 500</c:v>
                </c:pt>
              </c:strCache>
            </c:strRef>
          </c:cat>
          <c:val>
            <c:numRef>
              <c:f>Taul1!$C$2:$C$8</c:f>
              <c:numCache>
                <c:formatCode>General</c:formatCode>
                <c:ptCount val="7"/>
                <c:pt idx="0">
                  <c:v>0.19655172413793104</c:v>
                </c:pt>
                <c:pt idx="1">
                  <c:v>0.22417582417582418</c:v>
                </c:pt>
                <c:pt idx="2">
                  <c:v>9.6000000000000002E-2</c:v>
                </c:pt>
                <c:pt idx="3">
                  <c:v>0.19879518072289157</c:v>
                </c:pt>
                <c:pt idx="4">
                  <c:v>0.21505376344086022</c:v>
                </c:pt>
                <c:pt idx="5">
                  <c:v>0.15625</c:v>
                </c:pt>
                <c:pt idx="6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D23-4403-9CD1-9E0F9A09BBD4}"/>
            </c:ext>
          </c:extLst>
        </c:ser>
        <c:ser>
          <c:idx val="2"/>
          <c:order val="2"/>
          <c:tx>
            <c:strRef>
              <c:f>Taul1!$D$1</c:f>
              <c:strCache>
                <c:ptCount val="1"/>
                <c:pt idx="0">
                  <c:v>Suunnitelmia on jo peruttu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Taul1!$A$2:$A$8</c:f>
              <c:strCache>
                <c:ptCount val="7"/>
                <c:pt idx="0">
                  <c:v>Kaikki</c:v>
                </c:pt>
                <c:pt idx="1">
                  <c:v>Teollisuus</c:v>
                </c:pt>
                <c:pt idx="2">
                  <c:v>Palvelualat</c:v>
                </c:pt>
                <c:pt idx="3">
                  <c:v>0-50</c:v>
                </c:pt>
                <c:pt idx="4">
                  <c:v>51-250</c:v>
                </c:pt>
                <c:pt idx="5">
                  <c:v>251-500</c:v>
                </c:pt>
                <c:pt idx="6">
                  <c:v>yli 500</c:v>
                </c:pt>
              </c:strCache>
            </c:strRef>
          </c:cat>
          <c:val>
            <c:numRef>
              <c:f>Taul1!$D$2:$D$8</c:f>
              <c:numCache>
                <c:formatCode>General</c:formatCode>
                <c:ptCount val="7"/>
                <c:pt idx="0">
                  <c:v>5.5172413793103448E-2</c:v>
                </c:pt>
                <c:pt idx="1">
                  <c:v>6.3736263736263732E-2</c:v>
                </c:pt>
                <c:pt idx="2">
                  <c:v>2.4E-2</c:v>
                </c:pt>
                <c:pt idx="3">
                  <c:v>6.9277108433734941E-2</c:v>
                </c:pt>
                <c:pt idx="4">
                  <c:v>3.7634408602150539E-2</c:v>
                </c:pt>
                <c:pt idx="5">
                  <c:v>3.125E-2</c:v>
                </c:pt>
                <c:pt idx="6">
                  <c:v>3.333333333333333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D23-4403-9CD1-9E0F9A09BB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54276384"/>
        <c:axId val="654277216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Taul1!$B$1</c15:sqref>
                        </c15:formulaRef>
                      </c:ext>
                    </c:extLst>
                    <c:strCache>
                      <c:ptCount val="1"/>
                      <c:pt idx="0">
                        <c:v>Ei juuri mitenkään</c:v>
                      </c:pt>
                    </c:strCache>
                  </c:strRef>
                </c:tx>
                <c:spPr>
                  <a:solidFill>
                    <a:schemeClr val="accent1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>
                      <c:ext uri="{02D57815-91ED-43cb-92C2-25804820EDAC}">
                        <c15:formulaRef>
                          <c15:sqref>Taul1!$A$2:$A$8</c15:sqref>
                        </c15:formulaRef>
                      </c:ext>
                    </c:extLst>
                    <c:strCache>
                      <c:ptCount val="7"/>
                      <c:pt idx="0">
                        <c:v>Kaikki</c:v>
                      </c:pt>
                      <c:pt idx="1">
                        <c:v>Teollisuus</c:v>
                      </c:pt>
                      <c:pt idx="2">
                        <c:v>Palvelualat</c:v>
                      </c:pt>
                      <c:pt idx="3">
                        <c:v>0-50</c:v>
                      </c:pt>
                      <c:pt idx="4">
                        <c:v>51-250</c:v>
                      </c:pt>
                      <c:pt idx="5">
                        <c:v>251-500</c:v>
                      </c:pt>
                      <c:pt idx="6">
                        <c:v>yli 500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Taul1!$B$2:$B$8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0.74827586206896557</c:v>
                      </c:pt>
                      <c:pt idx="1">
                        <c:v>0.71208791208791211</c:v>
                      </c:pt>
                      <c:pt idx="2">
                        <c:v>0.88</c:v>
                      </c:pt>
                      <c:pt idx="3">
                        <c:v>0.73192771084337349</c:v>
                      </c:pt>
                      <c:pt idx="4">
                        <c:v>0.74731182795698925</c:v>
                      </c:pt>
                      <c:pt idx="5">
                        <c:v>0.8125</c:v>
                      </c:pt>
                      <c:pt idx="6">
                        <c:v>0.8666666666666667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0-DD23-4403-9CD1-9E0F9A09BBD4}"/>
                  </c:ext>
                </c:extLst>
              </c15:ser>
            </c15:filteredBarSeries>
          </c:ext>
        </c:extLst>
      </c:barChart>
      <c:catAx>
        <c:axId val="6542763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654277216"/>
        <c:crosses val="autoZero"/>
        <c:auto val="1"/>
        <c:lblAlgn val="ctr"/>
        <c:lblOffset val="100"/>
        <c:noMultiLvlLbl val="0"/>
      </c:catAx>
      <c:valAx>
        <c:axId val="6542772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654276384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fi-FI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123988190465974E-2"/>
          <c:y val="4.0806818849189318E-2"/>
          <c:w val="0.92122826303919725"/>
          <c:h val="0.7407412008655700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ul1!$B$1</c:f>
              <c:strCache>
                <c:ptCount val="1"/>
                <c:pt idx="0">
                  <c:v>Sotaa edeltävään tilanteeseen verrattuna saatavuus on heikentynyt merkittävästi.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ul1!$A$2:$A$8</c:f>
              <c:strCache>
                <c:ptCount val="7"/>
                <c:pt idx="0">
                  <c:v>Kaikki</c:v>
                </c:pt>
                <c:pt idx="1">
                  <c:v>Teollisuus</c:v>
                </c:pt>
                <c:pt idx="2">
                  <c:v>Palvelualat</c:v>
                </c:pt>
                <c:pt idx="3">
                  <c:v>0-50</c:v>
                </c:pt>
                <c:pt idx="4">
                  <c:v>51-250</c:v>
                </c:pt>
                <c:pt idx="5">
                  <c:v>251-500</c:v>
                </c:pt>
                <c:pt idx="6">
                  <c:v>yli 500</c:v>
                </c:pt>
              </c:strCache>
            </c:strRef>
          </c:cat>
          <c:val>
            <c:numRef>
              <c:f>Taul1!$B$2:$B$8</c:f>
              <c:numCache>
                <c:formatCode>General</c:formatCode>
                <c:ptCount val="7"/>
                <c:pt idx="0">
                  <c:v>0.29137931034482761</c:v>
                </c:pt>
                <c:pt idx="1">
                  <c:v>0.35164835164835168</c:v>
                </c:pt>
                <c:pt idx="2">
                  <c:v>7.1999999999999995E-2</c:v>
                </c:pt>
                <c:pt idx="3">
                  <c:v>0.28614457831325302</c:v>
                </c:pt>
                <c:pt idx="4">
                  <c:v>0.31720430107526881</c:v>
                </c:pt>
                <c:pt idx="5">
                  <c:v>0.28125</c:v>
                </c:pt>
                <c:pt idx="6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D23-4403-9CD1-9E0F9A09BBD4}"/>
            </c:ext>
          </c:extLst>
        </c:ser>
        <c:ser>
          <c:idx val="1"/>
          <c:order val="1"/>
          <c:tx>
            <c:strRef>
              <c:f>Taul1!$C$1</c:f>
              <c:strCache>
                <c:ptCount val="1"/>
                <c:pt idx="0">
                  <c:v>Sotaa edeltävään tilanteeseen verrattuna saatavuus on heikentynyt hieman.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aul1!$A$2:$A$8</c:f>
              <c:strCache>
                <c:ptCount val="7"/>
                <c:pt idx="0">
                  <c:v>Kaikki</c:v>
                </c:pt>
                <c:pt idx="1">
                  <c:v>Teollisuus</c:v>
                </c:pt>
                <c:pt idx="2">
                  <c:v>Palvelualat</c:v>
                </c:pt>
                <c:pt idx="3">
                  <c:v>0-50</c:v>
                </c:pt>
                <c:pt idx="4">
                  <c:v>51-250</c:v>
                </c:pt>
                <c:pt idx="5">
                  <c:v>251-500</c:v>
                </c:pt>
                <c:pt idx="6">
                  <c:v>yli 500</c:v>
                </c:pt>
              </c:strCache>
            </c:strRef>
          </c:cat>
          <c:val>
            <c:numRef>
              <c:f>Taul1!$C$2:$C$8</c:f>
              <c:numCache>
                <c:formatCode>General</c:formatCode>
                <c:ptCount val="7"/>
                <c:pt idx="0">
                  <c:v>0.42241379310344829</c:v>
                </c:pt>
                <c:pt idx="1">
                  <c:v>0.49450549450549453</c:v>
                </c:pt>
                <c:pt idx="2">
                  <c:v>0.16</c:v>
                </c:pt>
                <c:pt idx="3">
                  <c:v>0.42771084337349397</c:v>
                </c:pt>
                <c:pt idx="4">
                  <c:v>0.39784946236559138</c:v>
                </c:pt>
                <c:pt idx="5">
                  <c:v>0.34375</c:v>
                </c:pt>
                <c:pt idx="6">
                  <c:v>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D23-4403-9CD1-9E0F9A09BBD4}"/>
            </c:ext>
          </c:extLst>
        </c:ser>
        <c:ser>
          <c:idx val="2"/>
          <c:order val="2"/>
          <c:tx>
            <c:strRef>
              <c:f>Taul1!$D$1</c:f>
              <c:strCache>
                <c:ptCount val="1"/>
                <c:pt idx="0">
                  <c:v>Ei olennaista muutosta sotaa edeltävään tilanteeseen verrattuna.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Taul1!$A$2:$A$8</c:f>
              <c:strCache>
                <c:ptCount val="7"/>
                <c:pt idx="0">
                  <c:v>Kaikki</c:v>
                </c:pt>
                <c:pt idx="1">
                  <c:v>Teollisuus</c:v>
                </c:pt>
                <c:pt idx="2">
                  <c:v>Palvelualat</c:v>
                </c:pt>
                <c:pt idx="3">
                  <c:v>0-50</c:v>
                </c:pt>
                <c:pt idx="4">
                  <c:v>51-250</c:v>
                </c:pt>
                <c:pt idx="5">
                  <c:v>251-500</c:v>
                </c:pt>
                <c:pt idx="6">
                  <c:v>yli 500</c:v>
                </c:pt>
              </c:strCache>
            </c:strRef>
          </c:cat>
          <c:val>
            <c:numRef>
              <c:f>Taul1!$D$2:$D$8</c:f>
              <c:numCache>
                <c:formatCode>General</c:formatCode>
                <c:ptCount val="7"/>
                <c:pt idx="0">
                  <c:v>0.16206896551724137</c:v>
                </c:pt>
                <c:pt idx="1">
                  <c:v>0.13626373626373625</c:v>
                </c:pt>
                <c:pt idx="2">
                  <c:v>0.25600000000000001</c:v>
                </c:pt>
                <c:pt idx="3">
                  <c:v>0.1536144578313253</c:v>
                </c:pt>
                <c:pt idx="4">
                  <c:v>0.17741935483870969</c:v>
                </c:pt>
                <c:pt idx="5">
                  <c:v>0.21875</c:v>
                </c:pt>
                <c:pt idx="6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D23-4403-9CD1-9E0F9A09BBD4}"/>
            </c:ext>
          </c:extLst>
        </c:ser>
        <c:ser>
          <c:idx val="3"/>
          <c:order val="3"/>
          <c:tx>
            <c:strRef>
              <c:f>Taul1!$E$1</c:f>
              <c:strCache>
                <c:ptCount val="1"/>
                <c:pt idx="0">
                  <c:v>Saatavuus on parantunut sotaa edeltävään tilanteeseen verratuna.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Taul1!$A$2:$A$8</c:f>
              <c:strCache>
                <c:ptCount val="7"/>
                <c:pt idx="0">
                  <c:v>Kaikki</c:v>
                </c:pt>
                <c:pt idx="1">
                  <c:v>Teollisuus</c:v>
                </c:pt>
                <c:pt idx="2">
                  <c:v>Palvelualat</c:v>
                </c:pt>
                <c:pt idx="3">
                  <c:v>0-50</c:v>
                </c:pt>
                <c:pt idx="4">
                  <c:v>51-250</c:v>
                </c:pt>
                <c:pt idx="5">
                  <c:v>251-500</c:v>
                </c:pt>
                <c:pt idx="6">
                  <c:v>yli 500</c:v>
                </c:pt>
              </c:strCache>
            </c:strRef>
          </c:cat>
          <c:val>
            <c:numRef>
              <c:f>Taul1!$E$2:$E$8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17B-4EF6-A232-FC7C95270CF8}"/>
            </c:ext>
          </c:extLst>
        </c:ser>
        <c:ser>
          <c:idx val="4"/>
          <c:order val="4"/>
          <c:tx>
            <c:strRef>
              <c:f>Taul1!$F$1</c:f>
              <c:strCache>
                <c:ptCount val="1"/>
                <c:pt idx="0">
                  <c:v>Kysymys ei ole relevantti yrityksellemme (ei tuotetuotantoa).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Taul1!$A$2:$A$8</c:f>
              <c:strCache>
                <c:ptCount val="7"/>
                <c:pt idx="0">
                  <c:v>Kaikki</c:v>
                </c:pt>
                <c:pt idx="1">
                  <c:v>Teollisuus</c:v>
                </c:pt>
                <c:pt idx="2">
                  <c:v>Palvelualat</c:v>
                </c:pt>
                <c:pt idx="3">
                  <c:v>0-50</c:v>
                </c:pt>
                <c:pt idx="4">
                  <c:v>51-250</c:v>
                </c:pt>
                <c:pt idx="5">
                  <c:v>251-500</c:v>
                </c:pt>
                <c:pt idx="6">
                  <c:v>yli 500</c:v>
                </c:pt>
              </c:strCache>
            </c:strRef>
          </c:cat>
          <c:val>
            <c:numRef>
              <c:f>Taul1!$F$2:$F$8</c:f>
              <c:numCache>
                <c:formatCode>General</c:formatCode>
                <c:ptCount val="7"/>
                <c:pt idx="0">
                  <c:v>0.12413793103448276</c:v>
                </c:pt>
                <c:pt idx="1">
                  <c:v>1.7582417582417582E-2</c:v>
                </c:pt>
                <c:pt idx="2">
                  <c:v>0.51200000000000001</c:v>
                </c:pt>
                <c:pt idx="3">
                  <c:v>0.13253012048192772</c:v>
                </c:pt>
                <c:pt idx="4">
                  <c:v>0.10752688172043011</c:v>
                </c:pt>
                <c:pt idx="5">
                  <c:v>0.15625</c:v>
                </c:pt>
                <c:pt idx="6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17B-4EF6-A232-FC7C95270C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54276384"/>
        <c:axId val="654277216"/>
      </c:barChart>
      <c:catAx>
        <c:axId val="6542763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654277216"/>
        <c:crosses val="autoZero"/>
        <c:auto val="1"/>
        <c:lblAlgn val="ctr"/>
        <c:lblOffset val="100"/>
        <c:noMultiLvlLbl val="0"/>
      </c:catAx>
      <c:valAx>
        <c:axId val="6542772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654276384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7584394213871708"/>
          <c:w val="1"/>
          <c:h val="0.1026410391358755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fi-FI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ul1!$B$1</c:f>
              <c:strCache>
                <c:ptCount val="1"/>
                <c:pt idx="0">
                  <c:v>Kannattavuus heikkene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ul1!$A$2:$A$8</c:f>
              <c:strCache>
                <c:ptCount val="7"/>
                <c:pt idx="0">
                  <c:v>Kaikki</c:v>
                </c:pt>
                <c:pt idx="1">
                  <c:v>Teollisuus</c:v>
                </c:pt>
                <c:pt idx="2">
                  <c:v>Palvelualat</c:v>
                </c:pt>
                <c:pt idx="3">
                  <c:v>0-50</c:v>
                </c:pt>
                <c:pt idx="4">
                  <c:v>51-250</c:v>
                </c:pt>
                <c:pt idx="5">
                  <c:v>251-500</c:v>
                </c:pt>
                <c:pt idx="6">
                  <c:v>yli 500</c:v>
                </c:pt>
              </c:strCache>
            </c:strRef>
          </c:cat>
          <c:val>
            <c:numRef>
              <c:f>Taul1!$B$2:$B$8</c:f>
              <c:numCache>
                <c:formatCode>General</c:formatCode>
                <c:ptCount val="7"/>
                <c:pt idx="0">
                  <c:v>0.53103448275862064</c:v>
                </c:pt>
                <c:pt idx="1">
                  <c:v>0.58461538461538465</c:v>
                </c:pt>
                <c:pt idx="2">
                  <c:v>0.33600000000000002</c:v>
                </c:pt>
                <c:pt idx="3">
                  <c:v>0.5512048192771084</c:v>
                </c:pt>
                <c:pt idx="4">
                  <c:v>0.5161290322580645</c:v>
                </c:pt>
                <c:pt idx="5">
                  <c:v>0.5</c:v>
                </c:pt>
                <c:pt idx="6">
                  <c:v>0.433333333333333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D23-4403-9CD1-9E0F9A09BBD4}"/>
            </c:ext>
          </c:extLst>
        </c:ser>
        <c:ser>
          <c:idx val="1"/>
          <c:order val="1"/>
          <c:tx>
            <c:strRef>
              <c:f>Taul1!$C$1</c:f>
              <c:strCache>
                <c:ptCount val="1"/>
                <c:pt idx="0">
                  <c:v>Kannattavuus pysyy ennallaa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aul1!$A$2:$A$8</c:f>
              <c:strCache>
                <c:ptCount val="7"/>
                <c:pt idx="0">
                  <c:v>Kaikki</c:v>
                </c:pt>
                <c:pt idx="1">
                  <c:v>Teollisuus</c:v>
                </c:pt>
                <c:pt idx="2">
                  <c:v>Palvelualat</c:v>
                </c:pt>
                <c:pt idx="3">
                  <c:v>0-50</c:v>
                </c:pt>
                <c:pt idx="4">
                  <c:v>51-250</c:v>
                </c:pt>
                <c:pt idx="5">
                  <c:v>251-500</c:v>
                </c:pt>
                <c:pt idx="6">
                  <c:v>yli 500</c:v>
                </c:pt>
              </c:strCache>
            </c:strRef>
          </c:cat>
          <c:val>
            <c:numRef>
              <c:f>Taul1!$C$2:$C$8</c:f>
              <c:numCache>
                <c:formatCode>General</c:formatCode>
                <c:ptCount val="7"/>
                <c:pt idx="0">
                  <c:v>0.3896551724137931</c:v>
                </c:pt>
                <c:pt idx="1">
                  <c:v>0.35164835164835168</c:v>
                </c:pt>
                <c:pt idx="2">
                  <c:v>0.52800000000000002</c:v>
                </c:pt>
                <c:pt idx="3">
                  <c:v>0.39759036144578314</c:v>
                </c:pt>
                <c:pt idx="4">
                  <c:v>0.36559139784946237</c:v>
                </c:pt>
                <c:pt idx="5">
                  <c:v>0.40625</c:v>
                </c:pt>
                <c:pt idx="6">
                  <c:v>0.433333333333333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D23-4403-9CD1-9E0F9A09BBD4}"/>
            </c:ext>
          </c:extLst>
        </c:ser>
        <c:ser>
          <c:idx val="2"/>
          <c:order val="2"/>
          <c:tx>
            <c:strRef>
              <c:f>Taul1!$D$1</c:f>
              <c:strCache>
                <c:ptCount val="1"/>
                <c:pt idx="0">
                  <c:v>Kannattavuus parane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Taul1!$A$2:$A$8</c:f>
              <c:strCache>
                <c:ptCount val="7"/>
                <c:pt idx="0">
                  <c:v>Kaikki</c:v>
                </c:pt>
                <c:pt idx="1">
                  <c:v>Teollisuus</c:v>
                </c:pt>
                <c:pt idx="2">
                  <c:v>Palvelualat</c:v>
                </c:pt>
                <c:pt idx="3">
                  <c:v>0-50</c:v>
                </c:pt>
                <c:pt idx="4">
                  <c:v>51-250</c:v>
                </c:pt>
                <c:pt idx="5">
                  <c:v>251-500</c:v>
                </c:pt>
                <c:pt idx="6">
                  <c:v>yli 500</c:v>
                </c:pt>
              </c:strCache>
            </c:strRef>
          </c:cat>
          <c:val>
            <c:numRef>
              <c:f>Taul1!$D$2:$D$8</c:f>
              <c:numCache>
                <c:formatCode>General</c:formatCode>
                <c:ptCount val="7"/>
                <c:pt idx="0">
                  <c:v>7.9310344827586213E-2</c:v>
                </c:pt>
                <c:pt idx="1">
                  <c:v>6.3736263736263732E-2</c:v>
                </c:pt>
                <c:pt idx="2">
                  <c:v>0.13600000000000001</c:v>
                </c:pt>
                <c:pt idx="3">
                  <c:v>5.1204819277108432E-2</c:v>
                </c:pt>
                <c:pt idx="4">
                  <c:v>0.11827956989247312</c:v>
                </c:pt>
                <c:pt idx="5">
                  <c:v>9.375E-2</c:v>
                </c:pt>
                <c:pt idx="6">
                  <c:v>0.133333333333333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D23-4403-9CD1-9E0F9A09BB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54276384"/>
        <c:axId val="654277216"/>
      </c:barChart>
      <c:catAx>
        <c:axId val="6542763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654277216"/>
        <c:crosses val="autoZero"/>
        <c:auto val="1"/>
        <c:lblAlgn val="ctr"/>
        <c:lblOffset val="100"/>
        <c:noMultiLvlLbl val="0"/>
      </c:catAx>
      <c:valAx>
        <c:axId val="6542772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654276384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fi-FI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algn="l">
              <a:defRPr sz="1600" b="1">
                <a:solidFill>
                  <a:srgbClr val="000000"/>
                </a:solidFill>
              </a:defRPr>
            </a:pPr>
            <a:r>
              <a:rPr lang="en-US" sz="1050" b="0" err="1">
                <a:solidFill>
                  <a:srgbClr val="000000"/>
                </a:solidFill>
              </a:rPr>
              <a:t>Saldoluku</a:t>
            </a:r>
            <a:r>
              <a:rPr lang="en-US" sz="1050" b="0">
                <a:solidFill>
                  <a:srgbClr val="000000"/>
                </a:solidFill>
              </a:rPr>
              <a:t> </a:t>
            </a:r>
          </a:p>
        </c:rich>
      </c:tx>
      <c:layout>
        <c:manualLayout>
          <c:xMode val="edge"/>
          <c:yMode val="edge"/>
          <c:x val="0.79156077113516332"/>
          <c:y val="6.0947092908906618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4.4674120615740283E-2"/>
          <c:y val="3.5687247530145093E-2"/>
          <c:w val="0.93307819253678703"/>
          <c:h val="0.93088245034184414"/>
        </c:manualLayout>
      </c:layout>
      <c:lineChart>
        <c:grouping val="standard"/>
        <c:varyColors val="0"/>
        <c:ser>
          <c:idx val="0"/>
          <c:order val="0"/>
          <c:tx>
            <c:strRef>
              <c:f>Taul1!$B$1</c:f>
              <c:strCache>
                <c:ptCount val="1"/>
                <c:pt idx="0">
                  <c:v>Saldoluku</c:v>
                </c:pt>
              </c:strCache>
            </c:strRef>
          </c:tx>
          <c:spPr>
            <a:ln w="41275">
              <a:solidFill>
                <a:schemeClr val="accent1"/>
              </a:solidFill>
            </a:ln>
          </c:spPr>
          <c:marker>
            <c:symbol val="none"/>
          </c:marker>
          <c:cat>
            <c:strRef>
              <c:f>Taul1!$A$10:$A$62</c:f>
              <c:strCache>
                <c:ptCount val="51"/>
                <c:pt idx="0">
                  <c:v>09(10)</c:v>
                </c:pt>
                <c:pt idx="1">
                  <c:v>10(1)</c:v>
                </c:pt>
                <c:pt idx="2">
                  <c:v>10(4)</c:v>
                </c:pt>
                <c:pt idx="3">
                  <c:v>10(7)</c:v>
                </c:pt>
                <c:pt idx="4">
                  <c:v>10(10)</c:v>
                </c:pt>
                <c:pt idx="5">
                  <c:v>11(1)</c:v>
                </c:pt>
                <c:pt idx="6">
                  <c:v>11(4)</c:v>
                </c:pt>
                <c:pt idx="7">
                  <c:v>11(7)</c:v>
                </c:pt>
                <c:pt idx="8">
                  <c:v>11(10)</c:v>
                </c:pt>
                <c:pt idx="9">
                  <c:v>12(1)</c:v>
                </c:pt>
                <c:pt idx="10">
                  <c:v>12(4)</c:v>
                </c:pt>
                <c:pt idx="11">
                  <c:v>12(7)</c:v>
                </c:pt>
                <c:pt idx="12">
                  <c:v>12(10)</c:v>
                </c:pt>
                <c:pt idx="13">
                  <c:v>13(1)</c:v>
                </c:pt>
                <c:pt idx="14">
                  <c:v>13(4)</c:v>
                </c:pt>
                <c:pt idx="15">
                  <c:v>13(7)</c:v>
                </c:pt>
                <c:pt idx="16">
                  <c:v>13(10)</c:v>
                </c:pt>
                <c:pt idx="17">
                  <c:v>14(1)</c:v>
                </c:pt>
                <c:pt idx="18">
                  <c:v>14(4)</c:v>
                </c:pt>
                <c:pt idx="19">
                  <c:v>14(7)</c:v>
                </c:pt>
                <c:pt idx="20">
                  <c:v>14(10)</c:v>
                </c:pt>
                <c:pt idx="21">
                  <c:v>15(1)</c:v>
                </c:pt>
                <c:pt idx="22">
                  <c:v>15(4)</c:v>
                </c:pt>
                <c:pt idx="23">
                  <c:v>15(7)</c:v>
                </c:pt>
                <c:pt idx="24">
                  <c:v>15(10)</c:v>
                </c:pt>
                <c:pt idx="25">
                  <c:v>16(1)</c:v>
                </c:pt>
                <c:pt idx="26">
                  <c:v>16(4)</c:v>
                </c:pt>
                <c:pt idx="27">
                  <c:v>16(7)</c:v>
                </c:pt>
                <c:pt idx="28">
                  <c:v>16(10)</c:v>
                </c:pt>
                <c:pt idx="29">
                  <c:v>17(1)</c:v>
                </c:pt>
                <c:pt idx="30">
                  <c:v>17(4)</c:v>
                </c:pt>
                <c:pt idx="31">
                  <c:v>17(7)</c:v>
                </c:pt>
                <c:pt idx="32">
                  <c:v>17(10)</c:v>
                </c:pt>
                <c:pt idx="33">
                  <c:v>18(1)</c:v>
                </c:pt>
                <c:pt idx="34">
                  <c:v>18(4)</c:v>
                </c:pt>
                <c:pt idx="35">
                  <c:v>18(7)</c:v>
                </c:pt>
                <c:pt idx="36">
                  <c:v>18(10)</c:v>
                </c:pt>
                <c:pt idx="37">
                  <c:v>19(1)</c:v>
                </c:pt>
                <c:pt idx="38">
                  <c:v>19(4)</c:v>
                </c:pt>
                <c:pt idx="39">
                  <c:v>19(7)</c:v>
                </c:pt>
                <c:pt idx="40">
                  <c:v>19(10)</c:v>
                </c:pt>
                <c:pt idx="41">
                  <c:v>20(1)</c:v>
                </c:pt>
                <c:pt idx="42">
                  <c:v>20(4)</c:v>
                </c:pt>
                <c:pt idx="43">
                  <c:v>20(07)</c:v>
                </c:pt>
                <c:pt idx="44">
                  <c:v>20(10)</c:v>
                </c:pt>
                <c:pt idx="45">
                  <c:v>21(1)</c:v>
                </c:pt>
                <c:pt idx="46">
                  <c:v>21(4)</c:v>
                </c:pt>
                <c:pt idx="47">
                  <c:v>21(7)</c:v>
                </c:pt>
                <c:pt idx="48">
                  <c:v>21(10)</c:v>
                </c:pt>
                <c:pt idx="49">
                  <c:v>22(1)</c:v>
                </c:pt>
                <c:pt idx="50">
                  <c:v>22(4)</c:v>
                </c:pt>
              </c:strCache>
            </c:strRef>
          </c:cat>
          <c:val>
            <c:numRef>
              <c:f>Taul1!$B$10:$B$62</c:f>
              <c:numCache>
                <c:formatCode>General</c:formatCode>
                <c:ptCount val="53"/>
                <c:pt idx="0">
                  <c:v>2</c:v>
                </c:pt>
                <c:pt idx="1">
                  <c:v>10</c:v>
                </c:pt>
                <c:pt idx="2">
                  <c:v>33</c:v>
                </c:pt>
                <c:pt idx="3">
                  <c:v>27</c:v>
                </c:pt>
                <c:pt idx="4">
                  <c:v>19</c:v>
                </c:pt>
                <c:pt idx="5">
                  <c:v>26</c:v>
                </c:pt>
                <c:pt idx="6">
                  <c:v>30</c:v>
                </c:pt>
                <c:pt idx="7">
                  <c:v>18</c:v>
                </c:pt>
                <c:pt idx="8">
                  <c:v>-5</c:v>
                </c:pt>
                <c:pt idx="9">
                  <c:v>-5</c:v>
                </c:pt>
                <c:pt idx="10">
                  <c:v>8</c:v>
                </c:pt>
                <c:pt idx="11">
                  <c:v>-4</c:v>
                </c:pt>
                <c:pt idx="12">
                  <c:v>-24</c:v>
                </c:pt>
                <c:pt idx="13">
                  <c:v>-11</c:v>
                </c:pt>
                <c:pt idx="14">
                  <c:v>-2</c:v>
                </c:pt>
                <c:pt idx="15">
                  <c:v>-11</c:v>
                </c:pt>
                <c:pt idx="16">
                  <c:v>-13</c:v>
                </c:pt>
                <c:pt idx="17">
                  <c:v>5</c:v>
                </c:pt>
                <c:pt idx="18">
                  <c:v>15</c:v>
                </c:pt>
                <c:pt idx="19">
                  <c:v>3</c:v>
                </c:pt>
                <c:pt idx="20">
                  <c:v>-12</c:v>
                </c:pt>
                <c:pt idx="21">
                  <c:v>-4</c:v>
                </c:pt>
                <c:pt idx="22">
                  <c:v>10</c:v>
                </c:pt>
                <c:pt idx="23">
                  <c:v>1</c:v>
                </c:pt>
                <c:pt idx="24">
                  <c:v>-3</c:v>
                </c:pt>
                <c:pt idx="25">
                  <c:v>1</c:v>
                </c:pt>
                <c:pt idx="26">
                  <c:v>18</c:v>
                </c:pt>
                <c:pt idx="27">
                  <c:v>4</c:v>
                </c:pt>
                <c:pt idx="28">
                  <c:v>9</c:v>
                </c:pt>
                <c:pt idx="29">
                  <c:v>14</c:v>
                </c:pt>
                <c:pt idx="30">
                  <c:v>24</c:v>
                </c:pt>
                <c:pt idx="31">
                  <c:v>24</c:v>
                </c:pt>
                <c:pt idx="32">
                  <c:v>21.45</c:v>
                </c:pt>
                <c:pt idx="33">
                  <c:v>26.4</c:v>
                </c:pt>
                <c:pt idx="34">
                  <c:v>24.3</c:v>
                </c:pt>
                <c:pt idx="35">
                  <c:v>11.46</c:v>
                </c:pt>
                <c:pt idx="36">
                  <c:v>0.45</c:v>
                </c:pt>
                <c:pt idx="37">
                  <c:v>4.71</c:v>
                </c:pt>
                <c:pt idx="38">
                  <c:v>12.19</c:v>
                </c:pt>
                <c:pt idx="39">
                  <c:v>-2.73</c:v>
                </c:pt>
                <c:pt idx="40">
                  <c:v>-16.66</c:v>
                </c:pt>
                <c:pt idx="41">
                  <c:v>-6.75</c:v>
                </c:pt>
                <c:pt idx="42">
                  <c:v>-41.7</c:v>
                </c:pt>
                <c:pt idx="43">
                  <c:v>-43.66</c:v>
                </c:pt>
                <c:pt idx="44">
                  <c:v>-16.29</c:v>
                </c:pt>
                <c:pt idx="45">
                  <c:v>7.89</c:v>
                </c:pt>
                <c:pt idx="46">
                  <c:v>26.61</c:v>
                </c:pt>
                <c:pt idx="47">
                  <c:v>29.11</c:v>
                </c:pt>
                <c:pt idx="48">
                  <c:v>21.43</c:v>
                </c:pt>
                <c:pt idx="49">
                  <c:v>17.13</c:v>
                </c:pt>
                <c:pt idx="50">
                  <c:v>7.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AD0-4FF0-85C3-A9C09AA007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07343216"/>
        <c:axId val="407343608"/>
      </c:lineChart>
      <c:catAx>
        <c:axId val="40734321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one"/>
        <c:txPr>
          <a:bodyPr/>
          <a:lstStyle/>
          <a:p>
            <a:pPr>
              <a:defRPr sz="1400" b="1" i="0" baseline="0">
                <a:latin typeface="Arial" panose="020B0604020202020204" pitchFamily="34" charset="0"/>
              </a:defRPr>
            </a:pPr>
            <a:endParaRPr lang="fi-FI"/>
          </a:p>
        </c:txPr>
        <c:crossAx val="407343608"/>
        <c:crosses val="autoZero"/>
        <c:auto val="1"/>
        <c:lblAlgn val="ctr"/>
        <c:lblOffset val="100"/>
        <c:tickLblSkip val="11"/>
        <c:tickMarkSkip val="4"/>
        <c:noMultiLvlLbl val="0"/>
      </c:catAx>
      <c:valAx>
        <c:axId val="407343608"/>
        <c:scaling>
          <c:orientation val="minMax"/>
          <c:max val="40"/>
          <c:min val="-60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50" b="0" i="0" baseline="0">
                <a:solidFill>
                  <a:schemeClr val="tx2"/>
                </a:solidFill>
                <a:latin typeface="Verdana" panose="020B0604030504040204" pitchFamily="34" charset="0"/>
              </a:defRPr>
            </a:pPr>
            <a:endParaRPr lang="fi-FI"/>
          </a:p>
        </c:txPr>
        <c:crossAx val="407343216"/>
        <c:crosses val="autoZero"/>
        <c:crossBetween val="midCat"/>
        <c:majorUnit val="10"/>
        <c:minorUnit val="5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fi-FI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919674910102741E-2"/>
          <c:y val="4.0749431293150853E-2"/>
          <c:w val="0.78734293607653982"/>
          <c:h val="0.8325804682121570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hteensä</c:v>
                </c:pt>
              </c:strCache>
            </c:strRef>
          </c:tx>
          <c:spPr>
            <a:ln w="38100">
              <a:solidFill>
                <a:schemeClr val="tx2"/>
              </a:solidFill>
              <a:prstDash val="solid"/>
            </a:ln>
          </c:spPr>
          <c:marker>
            <c:symbol val="none"/>
          </c:marker>
          <c:cat>
            <c:strRef>
              <c:f>Sheet1!$A$2:$A$54</c:f>
              <c:strCache>
                <c:ptCount val="50"/>
                <c:pt idx="0">
                  <c:v>2009,IV</c:v>
                </c:pt>
                <c:pt idx="1">
                  <c:v>2010,I</c:v>
                </c:pt>
                <c:pt idx="5">
                  <c:v>2011,I</c:v>
                </c:pt>
                <c:pt idx="9">
                  <c:v>2012,I</c:v>
                </c:pt>
                <c:pt idx="13">
                  <c:v>2013,I</c:v>
                </c:pt>
                <c:pt idx="17">
                  <c:v>2014,I</c:v>
                </c:pt>
                <c:pt idx="21">
                  <c:v>2015,I</c:v>
                </c:pt>
                <c:pt idx="25">
                  <c:v>2016,I</c:v>
                </c:pt>
                <c:pt idx="29">
                  <c:v>2017,I</c:v>
                </c:pt>
                <c:pt idx="33">
                  <c:v>2018,I</c:v>
                </c:pt>
                <c:pt idx="37">
                  <c:v>2019,I</c:v>
                </c:pt>
                <c:pt idx="41">
                  <c:v>2020,I</c:v>
                </c:pt>
                <c:pt idx="45">
                  <c:v>2021,I</c:v>
                </c:pt>
                <c:pt idx="49">
                  <c:v>2022,I</c:v>
                </c:pt>
              </c:strCache>
            </c:strRef>
          </c:cat>
          <c:val>
            <c:numRef>
              <c:f>Sheet1!$B$2:$B$54</c:f>
              <c:numCache>
                <c:formatCode>General</c:formatCode>
                <c:ptCount val="53"/>
                <c:pt idx="1">
                  <c:v>6756.44</c:v>
                </c:pt>
                <c:pt idx="2">
                  <c:v>6999.23</c:v>
                </c:pt>
                <c:pt idx="3">
                  <c:v>6859.48</c:v>
                </c:pt>
                <c:pt idx="4">
                  <c:v>8964.57</c:v>
                </c:pt>
                <c:pt idx="5">
                  <c:v>8210.84</c:v>
                </c:pt>
                <c:pt idx="6">
                  <c:v>8537.4699999999993</c:v>
                </c:pt>
                <c:pt idx="7">
                  <c:v>7493.55</c:v>
                </c:pt>
                <c:pt idx="8">
                  <c:v>9242.0400000000009</c:v>
                </c:pt>
                <c:pt idx="9">
                  <c:v>8032.38</c:v>
                </c:pt>
                <c:pt idx="10">
                  <c:v>8375.94</c:v>
                </c:pt>
                <c:pt idx="11">
                  <c:v>7429.63</c:v>
                </c:pt>
                <c:pt idx="12">
                  <c:v>8687.08</c:v>
                </c:pt>
                <c:pt idx="13">
                  <c:v>6855.27</c:v>
                </c:pt>
                <c:pt idx="14">
                  <c:v>7311.86</c:v>
                </c:pt>
                <c:pt idx="15">
                  <c:v>6638.94</c:v>
                </c:pt>
                <c:pt idx="16">
                  <c:v>7421.77</c:v>
                </c:pt>
                <c:pt idx="17">
                  <c:v>7403.85</c:v>
                </c:pt>
                <c:pt idx="18">
                  <c:v>7660.3</c:v>
                </c:pt>
                <c:pt idx="19">
                  <c:v>9006.1299999999992</c:v>
                </c:pt>
                <c:pt idx="20">
                  <c:v>7792.1</c:v>
                </c:pt>
                <c:pt idx="21">
                  <c:v>6724.69</c:v>
                </c:pt>
                <c:pt idx="22">
                  <c:v>8694.8799999999992</c:v>
                </c:pt>
                <c:pt idx="23">
                  <c:v>7054.65</c:v>
                </c:pt>
                <c:pt idx="24">
                  <c:v>7964.6</c:v>
                </c:pt>
                <c:pt idx="25">
                  <c:v>6802.96</c:v>
                </c:pt>
                <c:pt idx="26">
                  <c:v>6477.57</c:v>
                </c:pt>
                <c:pt idx="27">
                  <c:v>6468.61</c:v>
                </c:pt>
                <c:pt idx="28">
                  <c:v>7976.71</c:v>
                </c:pt>
                <c:pt idx="29">
                  <c:v>7607.35</c:v>
                </c:pt>
                <c:pt idx="30">
                  <c:v>9593.77</c:v>
                </c:pt>
                <c:pt idx="31">
                  <c:v>7248.95</c:v>
                </c:pt>
                <c:pt idx="32">
                  <c:v>11203.2</c:v>
                </c:pt>
                <c:pt idx="33">
                  <c:v>9043.93</c:v>
                </c:pt>
                <c:pt idx="34">
                  <c:v>8793.0300000000007</c:v>
                </c:pt>
                <c:pt idx="35">
                  <c:v>8863.3799999999992</c:v>
                </c:pt>
                <c:pt idx="36">
                  <c:v>10082.35</c:v>
                </c:pt>
                <c:pt idx="37">
                  <c:v>10084.39</c:v>
                </c:pt>
                <c:pt idx="38">
                  <c:v>9652.33</c:v>
                </c:pt>
                <c:pt idx="39">
                  <c:v>10009.48</c:v>
                </c:pt>
                <c:pt idx="40">
                  <c:v>11441.86</c:v>
                </c:pt>
                <c:pt idx="41">
                  <c:v>8969.1200000000008</c:v>
                </c:pt>
                <c:pt idx="42">
                  <c:v>8283.85</c:v>
                </c:pt>
                <c:pt idx="43">
                  <c:v>8776.2099999999991</c:v>
                </c:pt>
                <c:pt idx="44">
                  <c:v>13209.07</c:v>
                </c:pt>
                <c:pt idx="45">
                  <c:v>9408.2000000000007</c:v>
                </c:pt>
                <c:pt idx="46">
                  <c:v>10055.129999999999</c:v>
                </c:pt>
                <c:pt idx="47">
                  <c:v>9867.43</c:v>
                </c:pt>
                <c:pt idx="48">
                  <c:v>13767.56</c:v>
                </c:pt>
                <c:pt idx="49">
                  <c:v>10246.46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439-479B-85F0-B6B7B0DB066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ientiin</c:v>
                </c:pt>
              </c:strCache>
            </c:strRef>
          </c:tx>
          <c:spPr>
            <a:ln w="38100">
              <a:solidFill>
                <a:schemeClr val="accent1">
                  <a:lumMod val="60000"/>
                  <a:lumOff val="40000"/>
                </a:schemeClr>
              </a:solidFill>
              <a:prstDash val="solid"/>
            </a:ln>
          </c:spPr>
          <c:marker>
            <c:symbol val="none"/>
          </c:marker>
          <c:cat>
            <c:strRef>
              <c:f>Sheet1!$A$2:$A$54</c:f>
              <c:strCache>
                <c:ptCount val="50"/>
                <c:pt idx="0">
                  <c:v>2009,IV</c:v>
                </c:pt>
                <c:pt idx="1">
                  <c:v>2010,I</c:v>
                </c:pt>
                <c:pt idx="5">
                  <c:v>2011,I</c:v>
                </c:pt>
                <c:pt idx="9">
                  <c:v>2012,I</c:v>
                </c:pt>
                <c:pt idx="13">
                  <c:v>2013,I</c:v>
                </c:pt>
                <c:pt idx="17">
                  <c:v>2014,I</c:v>
                </c:pt>
                <c:pt idx="21">
                  <c:v>2015,I</c:v>
                </c:pt>
                <c:pt idx="25">
                  <c:v>2016,I</c:v>
                </c:pt>
                <c:pt idx="29">
                  <c:v>2017,I</c:v>
                </c:pt>
                <c:pt idx="33">
                  <c:v>2018,I</c:v>
                </c:pt>
                <c:pt idx="37">
                  <c:v>2019,I</c:v>
                </c:pt>
                <c:pt idx="41">
                  <c:v>2020,I</c:v>
                </c:pt>
                <c:pt idx="45">
                  <c:v>2021,I</c:v>
                </c:pt>
                <c:pt idx="49">
                  <c:v>2022,I</c:v>
                </c:pt>
              </c:strCache>
            </c:strRef>
          </c:cat>
          <c:val>
            <c:numRef>
              <c:f>Sheet1!$C$2:$C$54</c:f>
              <c:numCache>
                <c:formatCode>General</c:formatCode>
                <c:ptCount val="53"/>
                <c:pt idx="1">
                  <c:v>5132.88</c:v>
                </c:pt>
                <c:pt idx="2">
                  <c:v>5523.79</c:v>
                </c:pt>
                <c:pt idx="3">
                  <c:v>5425.23</c:v>
                </c:pt>
                <c:pt idx="4">
                  <c:v>6775.21</c:v>
                </c:pt>
                <c:pt idx="5">
                  <c:v>5861.98</c:v>
                </c:pt>
                <c:pt idx="6">
                  <c:v>6615.66</c:v>
                </c:pt>
                <c:pt idx="7">
                  <c:v>5717.53</c:v>
                </c:pt>
                <c:pt idx="8">
                  <c:v>7099.16</c:v>
                </c:pt>
                <c:pt idx="9">
                  <c:v>6062.68</c:v>
                </c:pt>
                <c:pt idx="10">
                  <c:v>6510.72</c:v>
                </c:pt>
                <c:pt idx="11">
                  <c:v>5975.89</c:v>
                </c:pt>
                <c:pt idx="12">
                  <c:v>6993.62</c:v>
                </c:pt>
                <c:pt idx="13">
                  <c:v>5152.0600000000004</c:v>
                </c:pt>
                <c:pt idx="14">
                  <c:v>5497.8</c:v>
                </c:pt>
                <c:pt idx="15">
                  <c:v>5198.41</c:v>
                </c:pt>
                <c:pt idx="16">
                  <c:v>5817</c:v>
                </c:pt>
                <c:pt idx="17">
                  <c:v>5410.39</c:v>
                </c:pt>
                <c:pt idx="18">
                  <c:v>5603.68</c:v>
                </c:pt>
                <c:pt idx="19">
                  <c:v>6559.86</c:v>
                </c:pt>
                <c:pt idx="20">
                  <c:v>5872.81</c:v>
                </c:pt>
                <c:pt idx="21">
                  <c:v>4788.7299999999996</c:v>
                </c:pt>
                <c:pt idx="22">
                  <c:v>6378.97</c:v>
                </c:pt>
                <c:pt idx="23">
                  <c:v>5448.51</c:v>
                </c:pt>
                <c:pt idx="24">
                  <c:v>5719.37</c:v>
                </c:pt>
                <c:pt idx="25">
                  <c:v>4767.41</c:v>
                </c:pt>
                <c:pt idx="26">
                  <c:v>4574.33</c:v>
                </c:pt>
                <c:pt idx="27">
                  <c:v>4662.33</c:v>
                </c:pt>
                <c:pt idx="28">
                  <c:v>5604.17</c:v>
                </c:pt>
                <c:pt idx="29">
                  <c:v>5632.44</c:v>
                </c:pt>
                <c:pt idx="30">
                  <c:v>7482.43</c:v>
                </c:pt>
                <c:pt idx="31">
                  <c:v>5201.74</c:v>
                </c:pt>
                <c:pt idx="32">
                  <c:v>8284.23</c:v>
                </c:pt>
                <c:pt idx="33">
                  <c:v>6006.36</c:v>
                </c:pt>
                <c:pt idx="34">
                  <c:v>6357.16</c:v>
                </c:pt>
                <c:pt idx="35">
                  <c:v>6639.86</c:v>
                </c:pt>
                <c:pt idx="36">
                  <c:v>7320.55</c:v>
                </c:pt>
                <c:pt idx="37">
                  <c:v>7212.12</c:v>
                </c:pt>
                <c:pt idx="38">
                  <c:v>6721.32</c:v>
                </c:pt>
                <c:pt idx="39">
                  <c:v>7246.75</c:v>
                </c:pt>
                <c:pt idx="40">
                  <c:v>8831.15</c:v>
                </c:pt>
                <c:pt idx="41">
                  <c:v>6382.2</c:v>
                </c:pt>
                <c:pt idx="42">
                  <c:v>5839.24</c:v>
                </c:pt>
                <c:pt idx="43">
                  <c:v>6505.65</c:v>
                </c:pt>
                <c:pt idx="44">
                  <c:v>9735.77</c:v>
                </c:pt>
                <c:pt idx="45">
                  <c:v>6795.74</c:v>
                </c:pt>
                <c:pt idx="46">
                  <c:v>7827.03</c:v>
                </c:pt>
                <c:pt idx="47">
                  <c:v>7925.58</c:v>
                </c:pt>
                <c:pt idx="48">
                  <c:v>10957.37</c:v>
                </c:pt>
                <c:pt idx="49">
                  <c:v>7929.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439-479B-85F0-B6B7B0DB066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Kotimaahan</c:v>
                </c:pt>
              </c:strCache>
            </c:strRef>
          </c:tx>
          <c:spPr>
            <a:ln w="38100">
              <a:solidFill>
                <a:schemeClr val="accent2"/>
              </a:solidFill>
              <a:prstDash val="solid"/>
            </a:ln>
          </c:spPr>
          <c:marker>
            <c:symbol val="none"/>
          </c:marker>
          <c:cat>
            <c:strRef>
              <c:f>Sheet1!$A$2:$A$54</c:f>
              <c:strCache>
                <c:ptCount val="50"/>
                <c:pt idx="0">
                  <c:v>2009,IV</c:v>
                </c:pt>
                <c:pt idx="1">
                  <c:v>2010,I</c:v>
                </c:pt>
                <c:pt idx="5">
                  <c:v>2011,I</c:v>
                </c:pt>
                <c:pt idx="9">
                  <c:v>2012,I</c:v>
                </c:pt>
                <c:pt idx="13">
                  <c:v>2013,I</c:v>
                </c:pt>
                <c:pt idx="17">
                  <c:v>2014,I</c:v>
                </c:pt>
                <c:pt idx="21">
                  <c:v>2015,I</c:v>
                </c:pt>
                <c:pt idx="25">
                  <c:v>2016,I</c:v>
                </c:pt>
                <c:pt idx="29">
                  <c:v>2017,I</c:v>
                </c:pt>
                <c:pt idx="33">
                  <c:v>2018,I</c:v>
                </c:pt>
                <c:pt idx="37">
                  <c:v>2019,I</c:v>
                </c:pt>
                <c:pt idx="41">
                  <c:v>2020,I</c:v>
                </c:pt>
                <c:pt idx="45">
                  <c:v>2021,I</c:v>
                </c:pt>
                <c:pt idx="49">
                  <c:v>2022,I</c:v>
                </c:pt>
              </c:strCache>
            </c:strRef>
          </c:cat>
          <c:val>
            <c:numRef>
              <c:f>Sheet1!$D$2:$D$54</c:f>
              <c:numCache>
                <c:formatCode>General</c:formatCode>
                <c:ptCount val="53"/>
                <c:pt idx="1">
                  <c:v>1590.64</c:v>
                </c:pt>
                <c:pt idx="2">
                  <c:v>1440.93</c:v>
                </c:pt>
                <c:pt idx="3">
                  <c:v>1395.3</c:v>
                </c:pt>
                <c:pt idx="4">
                  <c:v>2125.23</c:v>
                </c:pt>
                <c:pt idx="5">
                  <c:v>2276.6999999999998</c:v>
                </c:pt>
                <c:pt idx="6">
                  <c:v>1864.7</c:v>
                </c:pt>
                <c:pt idx="7">
                  <c:v>1708.93</c:v>
                </c:pt>
                <c:pt idx="8">
                  <c:v>2063.0100000000002</c:v>
                </c:pt>
                <c:pt idx="9">
                  <c:v>1883.25</c:v>
                </c:pt>
                <c:pt idx="10">
                  <c:v>1785.49</c:v>
                </c:pt>
                <c:pt idx="11">
                  <c:v>1396.88</c:v>
                </c:pt>
                <c:pt idx="12">
                  <c:v>1627.73</c:v>
                </c:pt>
                <c:pt idx="13">
                  <c:v>1625.91</c:v>
                </c:pt>
                <c:pt idx="14">
                  <c:v>1746.51</c:v>
                </c:pt>
                <c:pt idx="15">
                  <c:v>1375.7</c:v>
                </c:pt>
                <c:pt idx="16">
                  <c:v>1525.33</c:v>
                </c:pt>
                <c:pt idx="17">
                  <c:v>1909.61</c:v>
                </c:pt>
                <c:pt idx="18">
                  <c:v>1978.89</c:v>
                </c:pt>
                <c:pt idx="19">
                  <c:v>2386.56</c:v>
                </c:pt>
                <c:pt idx="20">
                  <c:v>1817.79</c:v>
                </c:pt>
                <c:pt idx="21">
                  <c:v>1844.03</c:v>
                </c:pt>
                <c:pt idx="22">
                  <c:v>2217.83</c:v>
                </c:pt>
                <c:pt idx="23">
                  <c:v>1532.53</c:v>
                </c:pt>
                <c:pt idx="24">
                  <c:v>2157.5</c:v>
                </c:pt>
                <c:pt idx="25">
                  <c:v>1935.27</c:v>
                </c:pt>
                <c:pt idx="26">
                  <c:v>1802.5</c:v>
                </c:pt>
                <c:pt idx="27">
                  <c:v>1720.53</c:v>
                </c:pt>
                <c:pt idx="28">
                  <c:v>2270.4699999999998</c:v>
                </c:pt>
                <c:pt idx="29">
                  <c:v>1861.71</c:v>
                </c:pt>
                <c:pt idx="30">
                  <c:v>1997.2</c:v>
                </c:pt>
                <c:pt idx="31">
                  <c:v>1954.56</c:v>
                </c:pt>
                <c:pt idx="32">
                  <c:v>2786.99</c:v>
                </c:pt>
                <c:pt idx="33">
                  <c:v>2850.31</c:v>
                </c:pt>
                <c:pt idx="34">
                  <c:v>2266.25</c:v>
                </c:pt>
                <c:pt idx="35">
                  <c:v>2089.0500000000002</c:v>
                </c:pt>
                <c:pt idx="36">
                  <c:v>2584.59</c:v>
                </c:pt>
                <c:pt idx="37">
                  <c:v>2697.59</c:v>
                </c:pt>
                <c:pt idx="38">
                  <c:v>2781.45</c:v>
                </c:pt>
                <c:pt idx="39">
                  <c:v>2644.48</c:v>
                </c:pt>
                <c:pt idx="40">
                  <c:v>2439.81</c:v>
                </c:pt>
                <c:pt idx="41">
                  <c:v>2409.73</c:v>
                </c:pt>
                <c:pt idx="42">
                  <c:v>2272.0500000000002</c:v>
                </c:pt>
                <c:pt idx="43">
                  <c:v>2123.86</c:v>
                </c:pt>
                <c:pt idx="44">
                  <c:v>3283.32</c:v>
                </c:pt>
                <c:pt idx="45">
                  <c:v>2421.11</c:v>
                </c:pt>
                <c:pt idx="46">
                  <c:v>2017.39</c:v>
                </c:pt>
                <c:pt idx="47">
                  <c:v>1733.85</c:v>
                </c:pt>
                <c:pt idx="48">
                  <c:v>2582.39</c:v>
                </c:pt>
                <c:pt idx="49">
                  <c:v>2092.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439-479B-85F0-B6B7B0DB06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69111064"/>
        <c:axId val="369111456"/>
      </c:lineChart>
      <c:catAx>
        <c:axId val="369111064"/>
        <c:scaling>
          <c:orientation val="minMax"/>
        </c:scaling>
        <c:delete val="0"/>
        <c:axPos val="b"/>
        <c:majorGridlines>
          <c:spPr>
            <a:ln w="3175">
              <a:solidFill>
                <a:schemeClr val="tx1"/>
              </a:solidFill>
              <a:prstDash val="dash"/>
            </a:ln>
          </c:spPr>
        </c:majorGridlines>
        <c:numFmt formatCode="General" sourceLinked="1"/>
        <c:majorTickMark val="out"/>
        <c:minorTickMark val="none"/>
        <c:tickLblPos val="none"/>
        <c:spPr>
          <a:ln w="2843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 sz="1948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fi-FI"/>
          </a:p>
        </c:txPr>
        <c:crossAx val="369111456"/>
        <c:crosses val="autoZero"/>
        <c:auto val="1"/>
        <c:lblAlgn val="ctr"/>
        <c:lblOffset val="100"/>
        <c:tickLblSkip val="3"/>
        <c:tickMarkSkip val="4"/>
        <c:noMultiLvlLbl val="0"/>
      </c:catAx>
      <c:valAx>
        <c:axId val="369111456"/>
        <c:scaling>
          <c:orientation val="minMax"/>
          <c:max val="15000"/>
          <c:min val="0"/>
        </c:scaling>
        <c:delete val="0"/>
        <c:axPos val="l"/>
        <c:majorGridlines>
          <c:spPr>
            <a:ln w="3175">
              <a:solidFill>
                <a:schemeClr val="tx1"/>
              </a:solidFill>
              <a:prstDash val="dash"/>
            </a:ln>
          </c:spPr>
        </c:majorGridlines>
        <c:numFmt formatCode="#,##0" sourceLinked="0"/>
        <c:majorTickMark val="out"/>
        <c:minorTickMark val="none"/>
        <c:tickLblPos val="nextTo"/>
        <c:spPr>
          <a:ln w="2843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050" b="0" i="0" u="none" strike="noStrike" baseline="0">
                <a:solidFill>
                  <a:schemeClr val="tx2"/>
                </a:solidFill>
                <a:latin typeface="Verdana" panose="020B0604030504040204" pitchFamily="34" charset="0"/>
                <a:ea typeface="Arial"/>
                <a:cs typeface="Arial"/>
              </a:defRPr>
            </a:pPr>
            <a:endParaRPr lang="fi-FI"/>
          </a:p>
        </c:txPr>
        <c:crossAx val="369111064"/>
        <c:crosses val="autoZero"/>
        <c:crossBetween val="midCat"/>
        <c:majorUnit val="1000"/>
        <c:minorUnit val="500"/>
      </c:valAx>
      <c:spPr>
        <a:noFill/>
        <a:ln w="11372">
          <a:solidFill>
            <a:schemeClr val="tx1"/>
          </a:solidFill>
          <a:prstDash val="solid"/>
        </a:ln>
      </c:spPr>
    </c:plotArea>
    <c:legend>
      <c:legendPos val="r"/>
      <c:layout>
        <c:manualLayout>
          <c:xMode val="edge"/>
          <c:yMode val="edge"/>
          <c:x val="0.86988108704736133"/>
          <c:y val="0.19757124334097242"/>
          <c:w val="0.13011891295263864"/>
          <c:h val="0.61234378114075594"/>
        </c:manualLayout>
      </c:layout>
      <c:overlay val="0"/>
      <c:spPr>
        <a:solidFill>
          <a:schemeClr val="bg1"/>
        </a:solidFill>
        <a:ln w="2843">
          <a:noFill/>
          <a:prstDash val="solid"/>
        </a:ln>
      </c:spPr>
      <c:txPr>
        <a:bodyPr/>
        <a:lstStyle/>
        <a:p>
          <a:pPr>
            <a:defRPr sz="1050" b="0" i="0" u="none" strike="noStrike" baseline="0">
              <a:solidFill>
                <a:schemeClr val="tx2"/>
              </a:solidFill>
              <a:latin typeface="Verdana" panose="020B0604030504040204" pitchFamily="34" charset="0"/>
              <a:ea typeface="Arial"/>
              <a:cs typeface="Arial"/>
            </a:defRPr>
          </a:pPr>
          <a:endParaRPr lang="fi-FI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948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fi-FI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919674910102741E-2"/>
          <c:y val="4.0749431293150853E-2"/>
          <c:w val="0.78734293607653982"/>
          <c:h val="0.8325804682121570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hteensä</c:v>
                </c:pt>
              </c:strCache>
            </c:strRef>
          </c:tx>
          <c:spPr>
            <a:ln w="38100">
              <a:solidFill>
                <a:schemeClr val="tx2"/>
              </a:solidFill>
              <a:prstDash val="solid"/>
            </a:ln>
          </c:spPr>
          <c:marker>
            <c:symbol val="none"/>
          </c:marker>
          <c:cat>
            <c:strRef>
              <c:f>Sheet1!$A$2:$A$54</c:f>
              <c:strCache>
                <c:ptCount val="50"/>
                <c:pt idx="0">
                  <c:v>2009,IV</c:v>
                </c:pt>
                <c:pt idx="1">
                  <c:v>2010,I</c:v>
                </c:pt>
                <c:pt idx="5">
                  <c:v>2011,I</c:v>
                </c:pt>
                <c:pt idx="9">
                  <c:v>2012,I</c:v>
                </c:pt>
                <c:pt idx="13">
                  <c:v>2013,I</c:v>
                </c:pt>
                <c:pt idx="17">
                  <c:v>2014,I</c:v>
                </c:pt>
                <c:pt idx="21">
                  <c:v>2015,I</c:v>
                </c:pt>
                <c:pt idx="25">
                  <c:v>2016,I</c:v>
                </c:pt>
                <c:pt idx="29">
                  <c:v>2017,I</c:v>
                </c:pt>
                <c:pt idx="33">
                  <c:v>2018,I</c:v>
                </c:pt>
                <c:pt idx="37">
                  <c:v>2019,I</c:v>
                </c:pt>
                <c:pt idx="41">
                  <c:v>2020,I</c:v>
                </c:pt>
                <c:pt idx="45">
                  <c:v>2021,I</c:v>
                </c:pt>
                <c:pt idx="49">
                  <c:v>2022,I</c:v>
                </c:pt>
              </c:strCache>
            </c:strRef>
          </c:cat>
          <c:val>
            <c:numRef>
              <c:f>Sheet1!$B$2:$B$54</c:f>
              <c:numCache>
                <c:formatCode>General</c:formatCode>
                <c:ptCount val="53"/>
                <c:pt idx="1">
                  <c:v>2171.21</c:v>
                </c:pt>
                <c:pt idx="2">
                  <c:v>2662.69</c:v>
                </c:pt>
                <c:pt idx="3">
                  <c:v>2421.4</c:v>
                </c:pt>
                <c:pt idx="4">
                  <c:v>3242.96</c:v>
                </c:pt>
                <c:pt idx="5">
                  <c:v>3435.44</c:v>
                </c:pt>
                <c:pt idx="6">
                  <c:v>4354.8999999999996</c:v>
                </c:pt>
                <c:pt idx="7">
                  <c:v>3265.92</c:v>
                </c:pt>
                <c:pt idx="8">
                  <c:v>3795.59</c:v>
                </c:pt>
                <c:pt idx="9">
                  <c:v>3623.9</c:v>
                </c:pt>
                <c:pt idx="10">
                  <c:v>3467.45</c:v>
                </c:pt>
                <c:pt idx="11">
                  <c:v>3165.89</c:v>
                </c:pt>
                <c:pt idx="12">
                  <c:v>3894.55</c:v>
                </c:pt>
                <c:pt idx="13">
                  <c:v>3166.56</c:v>
                </c:pt>
                <c:pt idx="14">
                  <c:v>3442.1</c:v>
                </c:pt>
                <c:pt idx="15">
                  <c:v>3183.98</c:v>
                </c:pt>
                <c:pt idx="16">
                  <c:v>3183.34</c:v>
                </c:pt>
                <c:pt idx="17">
                  <c:v>3884.7</c:v>
                </c:pt>
                <c:pt idx="18">
                  <c:v>4200.1499999999996</c:v>
                </c:pt>
                <c:pt idx="19">
                  <c:v>4885.88</c:v>
                </c:pt>
                <c:pt idx="20">
                  <c:v>3928.23</c:v>
                </c:pt>
                <c:pt idx="21">
                  <c:v>3533.56</c:v>
                </c:pt>
                <c:pt idx="22">
                  <c:v>5524.88</c:v>
                </c:pt>
                <c:pt idx="23">
                  <c:v>4208.43</c:v>
                </c:pt>
                <c:pt idx="24">
                  <c:v>3951.69</c:v>
                </c:pt>
                <c:pt idx="25">
                  <c:v>3590.22</c:v>
                </c:pt>
                <c:pt idx="26">
                  <c:v>3335.7</c:v>
                </c:pt>
                <c:pt idx="27">
                  <c:v>3189.27</c:v>
                </c:pt>
                <c:pt idx="28">
                  <c:v>4227.25</c:v>
                </c:pt>
                <c:pt idx="29">
                  <c:v>4193.12</c:v>
                </c:pt>
                <c:pt idx="30">
                  <c:v>5995.28</c:v>
                </c:pt>
                <c:pt idx="31">
                  <c:v>3876.1</c:v>
                </c:pt>
                <c:pt idx="32">
                  <c:v>7275.91</c:v>
                </c:pt>
                <c:pt idx="33">
                  <c:v>4890.76</c:v>
                </c:pt>
                <c:pt idx="34">
                  <c:v>4876.3100000000004</c:v>
                </c:pt>
                <c:pt idx="35">
                  <c:v>4965.16</c:v>
                </c:pt>
                <c:pt idx="36">
                  <c:v>5643.21</c:v>
                </c:pt>
                <c:pt idx="37">
                  <c:v>5543.88</c:v>
                </c:pt>
                <c:pt idx="38">
                  <c:v>5036.32</c:v>
                </c:pt>
                <c:pt idx="39">
                  <c:v>4892.91</c:v>
                </c:pt>
                <c:pt idx="40">
                  <c:v>5744.39</c:v>
                </c:pt>
                <c:pt idx="41">
                  <c:v>4468.34</c:v>
                </c:pt>
                <c:pt idx="42">
                  <c:v>3402.53</c:v>
                </c:pt>
                <c:pt idx="43">
                  <c:v>3866.64</c:v>
                </c:pt>
                <c:pt idx="44">
                  <c:v>5743.68</c:v>
                </c:pt>
                <c:pt idx="45">
                  <c:v>4754.76</c:v>
                </c:pt>
                <c:pt idx="46">
                  <c:v>5131.7700000000004</c:v>
                </c:pt>
                <c:pt idx="47">
                  <c:v>4873.74</c:v>
                </c:pt>
                <c:pt idx="48">
                  <c:v>6187.27</c:v>
                </c:pt>
                <c:pt idx="49">
                  <c:v>5238.72999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439-479B-85F0-B6B7B0DB066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ientiin</c:v>
                </c:pt>
              </c:strCache>
            </c:strRef>
          </c:tx>
          <c:spPr>
            <a:ln w="38100">
              <a:solidFill>
                <a:schemeClr val="accent1">
                  <a:lumMod val="60000"/>
                  <a:lumOff val="40000"/>
                </a:schemeClr>
              </a:solidFill>
              <a:prstDash val="solid"/>
            </a:ln>
          </c:spPr>
          <c:marker>
            <c:symbol val="none"/>
          </c:marker>
          <c:cat>
            <c:strRef>
              <c:f>Sheet1!$A$2:$A$54</c:f>
              <c:strCache>
                <c:ptCount val="50"/>
                <c:pt idx="0">
                  <c:v>2009,IV</c:v>
                </c:pt>
                <c:pt idx="1">
                  <c:v>2010,I</c:v>
                </c:pt>
                <c:pt idx="5">
                  <c:v>2011,I</c:v>
                </c:pt>
                <c:pt idx="9">
                  <c:v>2012,I</c:v>
                </c:pt>
                <c:pt idx="13">
                  <c:v>2013,I</c:v>
                </c:pt>
                <c:pt idx="17">
                  <c:v>2014,I</c:v>
                </c:pt>
                <c:pt idx="21">
                  <c:v>2015,I</c:v>
                </c:pt>
                <c:pt idx="25">
                  <c:v>2016,I</c:v>
                </c:pt>
                <c:pt idx="29">
                  <c:v>2017,I</c:v>
                </c:pt>
                <c:pt idx="33">
                  <c:v>2018,I</c:v>
                </c:pt>
                <c:pt idx="37">
                  <c:v>2019,I</c:v>
                </c:pt>
                <c:pt idx="41">
                  <c:v>2020,I</c:v>
                </c:pt>
                <c:pt idx="45">
                  <c:v>2021,I</c:v>
                </c:pt>
                <c:pt idx="49">
                  <c:v>2022,I</c:v>
                </c:pt>
              </c:strCache>
            </c:strRef>
          </c:cat>
          <c:val>
            <c:numRef>
              <c:f>Sheet1!$C$2:$C$54</c:f>
              <c:numCache>
                <c:formatCode>General</c:formatCode>
                <c:ptCount val="53"/>
                <c:pt idx="1">
                  <c:v>1611.42</c:v>
                </c:pt>
                <c:pt idx="2">
                  <c:v>1977.92</c:v>
                </c:pt>
                <c:pt idx="3">
                  <c:v>1931.42</c:v>
                </c:pt>
                <c:pt idx="4">
                  <c:v>2288.59</c:v>
                </c:pt>
                <c:pt idx="5">
                  <c:v>2417.35</c:v>
                </c:pt>
                <c:pt idx="6">
                  <c:v>3279.99</c:v>
                </c:pt>
                <c:pt idx="7">
                  <c:v>2505.7199999999998</c:v>
                </c:pt>
                <c:pt idx="8">
                  <c:v>2883.98</c:v>
                </c:pt>
                <c:pt idx="9">
                  <c:v>2714.22</c:v>
                </c:pt>
                <c:pt idx="10">
                  <c:v>2570.4699999999998</c:v>
                </c:pt>
                <c:pt idx="11">
                  <c:v>2372.02</c:v>
                </c:pt>
                <c:pt idx="12">
                  <c:v>3036.94</c:v>
                </c:pt>
                <c:pt idx="13">
                  <c:v>2408.91</c:v>
                </c:pt>
                <c:pt idx="14">
                  <c:v>2461.4</c:v>
                </c:pt>
                <c:pt idx="15">
                  <c:v>2446.91</c:v>
                </c:pt>
                <c:pt idx="16">
                  <c:v>2366.73</c:v>
                </c:pt>
                <c:pt idx="17">
                  <c:v>2802.57</c:v>
                </c:pt>
                <c:pt idx="18">
                  <c:v>2951.5</c:v>
                </c:pt>
                <c:pt idx="19">
                  <c:v>3273.28</c:v>
                </c:pt>
                <c:pt idx="20">
                  <c:v>2897.26</c:v>
                </c:pt>
                <c:pt idx="21">
                  <c:v>2538.08</c:v>
                </c:pt>
                <c:pt idx="22">
                  <c:v>4122.26</c:v>
                </c:pt>
                <c:pt idx="23">
                  <c:v>3416.56</c:v>
                </c:pt>
                <c:pt idx="24">
                  <c:v>2842.64</c:v>
                </c:pt>
                <c:pt idx="25">
                  <c:v>2425.14</c:v>
                </c:pt>
                <c:pt idx="26">
                  <c:v>2280.73</c:v>
                </c:pt>
                <c:pt idx="27">
                  <c:v>2277.61</c:v>
                </c:pt>
                <c:pt idx="28">
                  <c:v>2879.56</c:v>
                </c:pt>
                <c:pt idx="29">
                  <c:v>3173.62</c:v>
                </c:pt>
                <c:pt idx="30">
                  <c:v>4933.4799999999996</c:v>
                </c:pt>
                <c:pt idx="31">
                  <c:v>2940.82</c:v>
                </c:pt>
                <c:pt idx="32">
                  <c:v>5675.44</c:v>
                </c:pt>
                <c:pt idx="33">
                  <c:v>3334.85</c:v>
                </c:pt>
                <c:pt idx="34">
                  <c:v>3742.67</c:v>
                </c:pt>
                <c:pt idx="35">
                  <c:v>3944.22</c:v>
                </c:pt>
                <c:pt idx="36">
                  <c:v>4289.8500000000004</c:v>
                </c:pt>
                <c:pt idx="37">
                  <c:v>4089.29</c:v>
                </c:pt>
                <c:pt idx="38">
                  <c:v>3569.35</c:v>
                </c:pt>
                <c:pt idx="39">
                  <c:v>3295.47</c:v>
                </c:pt>
                <c:pt idx="40">
                  <c:v>4534.82</c:v>
                </c:pt>
                <c:pt idx="41">
                  <c:v>3339.53</c:v>
                </c:pt>
                <c:pt idx="42">
                  <c:v>2280.71</c:v>
                </c:pt>
                <c:pt idx="43">
                  <c:v>2772.98</c:v>
                </c:pt>
                <c:pt idx="44">
                  <c:v>3761.18</c:v>
                </c:pt>
                <c:pt idx="45">
                  <c:v>3638.3</c:v>
                </c:pt>
                <c:pt idx="46">
                  <c:v>4315.45</c:v>
                </c:pt>
                <c:pt idx="47">
                  <c:v>4187.01</c:v>
                </c:pt>
                <c:pt idx="48">
                  <c:v>5276.42</c:v>
                </c:pt>
                <c:pt idx="49">
                  <c:v>4376.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439-479B-85F0-B6B7B0DB066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Kotimaahan</c:v>
                </c:pt>
              </c:strCache>
            </c:strRef>
          </c:tx>
          <c:spPr>
            <a:ln w="38100">
              <a:solidFill>
                <a:schemeClr val="accent2"/>
              </a:solidFill>
              <a:prstDash val="solid"/>
            </a:ln>
          </c:spPr>
          <c:marker>
            <c:symbol val="none"/>
          </c:marker>
          <c:cat>
            <c:strRef>
              <c:f>Sheet1!$A$2:$A$54</c:f>
              <c:strCache>
                <c:ptCount val="50"/>
                <c:pt idx="0">
                  <c:v>2009,IV</c:v>
                </c:pt>
                <c:pt idx="1">
                  <c:v>2010,I</c:v>
                </c:pt>
                <c:pt idx="5">
                  <c:v>2011,I</c:v>
                </c:pt>
                <c:pt idx="9">
                  <c:v>2012,I</c:v>
                </c:pt>
                <c:pt idx="13">
                  <c:v>2013,I</c:v>
                </c:pt>
                <c:pt idx="17">
                  <c:v>2014,I</c:v>
                </c:pt>
                <c:pt idx="21">
                  <c:v>2015,I</c:v>
                </c:pt>
                <c:pt idx="25">
                  <c:v>2016,I</c:v>
                </c:pt>
                <c:pt idx="29">
                  <c:v>2017,I</c:v>
                </c:pt>
                <c:pt idx="33">
                  <c:v>2018,I</c:v>
                </c:pt>
                <c:pt idx="37">
                  <c:v>2019,I</c:v>
                </c:pt>
                <c:pt idx="41">
                  <c:v>2020,I</c:v>
                </c:pt>
                <c:pt idx="45">
                  <c:v>2021,I</c:v>
                </c:pt>
                <c:pt idx="49">
                  <c:v>2022,I</c:v>
                </c:pt>
              </c:strCache>
            </c:strRef>
          </c:cat>
          <c:val>
            <c:numRef>
              <c:f>Sheet1!$D$2:$D$54</c:f>
              <c:numCache>
                <c:formatCode>General</c:formatCode>
                <c:ptCount val="53"/>
                <c:pt idx="1">
                  <c:v>559.79</c:v>
                </c:pt>
                <c:pt idx="2">
                  <c:v>684.76</c:v>
                </c:pt>
                <c:pt idx="3">
                  <c:v>489.99</c:v>
                </c:pt>
                <c:pt idx="4">
                  <c:v>954.37</c:v>
                </c:pt>
                <c:pt idx="5">
                  <c:v>1018.09</c:v>
                </c:pt>
                <c:pt idx="6">
                  <c:v>1074.9100000000001</c:v>
                </c:pt>
                <c:pt idx="7">
                  <c:v>760.21</c:v>
                </c:pt>
                <c:pt idx="8">
                  <c:v>911.61</c:v>
                </c:pt>
                <c:pt idx="9">
                  <c:v>909.68</c:v>
                </c:pt>
                <c:pt idx="10">
                  <c:v>896.98</c:v>
                </c:pt>
                <c:pt idx="11">
                  <c:v>793.87</c:v>
                </c:pt>
                <c:pt idx="12">
                  <c:v>857.6</c:v>
                </c:pt>
                <c:pt idx="13">
                  <c:v>757.65</c:v>
                </c:pt>
                <c:pt idx="14">
                  <c:v>980.7</c:v>
                </c:pt>
                <c:pt idx="15">
                  <c:v>737.07</c:v>
                </c:pt>
                <c:pt idx="16">
                  <c:v>816.61</c:v>
                </c:pt>
                <c:pt idx="17">
                  <c:v>1082.1199999999999</c:v>
                </c:pt>
                <c:pt idx="18">
                  <c:v>1248.6600000000001</c:v>
                </c:pt>
                <c:pt idx="19">
                  <c:v>1612.6</c:v>
                </c:pt>
                <c:pt idx="20">
                  <c:v>1030.97</c:v>
                </c:pt>
                <c:pt idx="21">
                  <c:v>995.48</c:v>
                </c:pt>
                <c:pt idx="22">
                  <c:v>1402.62</c:v>
                </c:pt>
                <c:pt idx="23">
                  <c:v>791.87</c:v>
                </c:pt>
                <c:pt idx="24">
                  <c:v>1109.05</c:v>
                </c:pt>
                <c:pt idx="25">
                  <c:v>1165.0899999999999</c:v>
                </c:pt>
                <c:pt idx="26">
                  <c:v>1054.97</c:v>
                </c:pt>
                <c:pt idx="27">
                  <c:v>911.66</c:v>
                </c:pt>
                <c:pt idx="28">
                  <c:v>1347.69</c:v>
                </c:pt>
                <c:pt idx="29">
                  <c:v>1019.51</c:v>
                </c:pt>
                <c:pt idx="30">
                  <c:v>1061.8</c:v>
                </c:pt>
                <c:pt idx="31">
                  <c:v>935.27</c:v>
                </c:pt>
                <c:pt idx="32">
                  <c:v>1600.47</c:v>
                </c:pt>
                <c:pt idx="33">
                  <c:v>1555.91</c:v>
                </c:pt>
                <c:pt idx="34">
                  <c:v>1133.6400000000001</c:v>
                </c:pt>
                <c:pt idx="35">
                  <c:v>1020.93</c:v>
                </c:pt>
                <c:pt idx="36">
                  <c:v>1353.36</c:v>
                </c:pt>
                <c:pt idx="37">
                  <c:v>1454.58</c:v>
                </c:pt>
                <c:pt idx="38">
                  <c:v>1466.96</c:v>
                </c:pt>
                <c:pt idx="39">
                  <c:v>1597.44</c:v>
                </c:pt>
                <c:pt idx="40">
                  <c:v>1209.58</c:v>
                </c:pt>
                <c:pt idx="41">
                  <c:v>1128.82</c:v>
                </c:pt>
                <c:pt idx="42">
                  <c:v>1121.83</c:v>
                </c:pt>
                <c:pt idx="43">
                  <c:v>1093.6600000000001</c:v>
                </c:pt>
                <c:pt idx="44">
                  <c:v>1982.5</c:v>
                </c:pt>
                <c:pt idx="45">
                  <c:v>1116.46</c:v>
                </c:pt>
                <c:pt idx="46">
                  <c:v>816.32</c:v>
                </c:pt>
                <c:pt idx="47">
                  <c:v>686.73</c:v>
                </c:pt>
                <c:pt idx="48">
                  <c:v>910.85</c:v>
                </c:pt>
                <c:pt idx="49">
                  <c:v>862.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439-479B-85F0-B6B7B0DB06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69111064"/>
        <c:axId val="369111456"/>
      </c:lineChart>
      <c:catAx>
        <c:axId val="369111064"/>
        <c:scaling>
          <c:orientation val="minMax"/>
        </c:scaling>
        <c:delete val="0"/>
        <c:axPos val="b"/>
        <c:majorGridlines>
          <c:spPr>
            <a:ln w="3175">
              <a:solidFill>
                <a:schemeClr val="tx1"/>
              </a:solidFill>
              <a:prstDash val="dash"/>
            </a:ln>
          </c:spPr>
        </c:majorGridlines>
        <c:numFmt formatCode="General" sourceLinked="1"/>
        <c:majorTickMark val="out"/>
        <c:minorTickMark val="none"/>
        <c:tickLblPos val="none"/>
        <c:spPr>
          <a:ln w="2843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 sz="1948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fi-FI"/>
          </a:p>
        </c:txPr>
        <c:crossAx val="369111456"/>
        <c:crosses val="autoZero"/>
        <c:auto val="1"/>
        <c:lblAlgn val="ctr"/>
        <c:lblOffset val="100"/>
        <c:tickLblSkip val="3"/>
        <c:tickMarkSkip val="4"/>
        <c:noMultiLvlLbl val="0"/>
      </c:catAx>
      <c:valAx>
        <c:axId val="369111456"/>
        <c:scaling>
          <c:orientation val="minMax"/>
          <c:max val="7500"/>
          <c:min val="0"/>
        </c:scaling>
        <c:delete val="0"/>
        <c:axPos val="l"/>
        <c:majorGridlines>
          <c:spPr>
            <a:ln w="3175">
              <a:solidFill>
                <a:schemeClr val="tx1"/>
              </a:solidFill>
              <a:prstDash val="dash"/>
            </a:ln>
          </c:spPr>
        </c:majorGridlines>
        <c:numFmt formatCode="#,##0" sourceLinked="0"/>
        <c:majorTickMark val="out"/>
        <c:minorTickMark val="none"/>
        <c:tickLblPos val="nextTo"/>
        <c:spPr>
          <a:ln w="2843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050" b="0" i="0" u="none" strike="noStrike" baseline="0">
                <a:solidFill>
                  <a:schemeClr val="tx2"/>
                </a:solidFill>
                <a:latin typeface="Verdana" panose="020B0604030504040204" pitchFamily="34" charset="0"/>
                <a:ea typeface="Arial"/>
                <a:cs typeface="Arial"/>
              </a:defRPr>
            </a:pPr>
            <a:endParaRPr lang="fi-FI"/>
          </a:p>
        </c:txPr>
        <c:crossAx val="369111064"/>
        <c:crosses val="autoZero"/>
        <c:crossBetween val="midCat"/>
        <c:majorUnit val="500"/>
        <c:minorUnit val="500"/>
      </c:valAx>
      <c:spPr>
        <a:noFill/>
        <a:ln w="11372">
          <a:solidFill>
            <a:schemeClr val="tx1"/>
          </a:solidFill>
          <a:prstDash val="solid"/>
        </a:ln>
      </c:spPr>
    </c:plotArea>
    <c:legend>
      <c:legendPos val="r"/>
      <c:layout>
        <c:manualLayout>
          <c:xMode val="edge"/>
          <c:yMode val="edge"/>
          <c:x val="0.86988108704736133"/>
          <c:y val="0.19757124334097242"/>
          <c:w val="0.13011891295263864"/>
          <c:h val="0.61234378114075594"/>
        </c:manualLayout>
      </c:layout>
      <c:overlay val="0"/>
      <c:spPr>
        <a:solidFill>
          <a:schemeClr val="bg1"/>
        </a:solidFill>
        <a:ln w="2843">
          <a:noFill/>
          <a:prstDash val="solid"/>
        </a:ln>
      </c:spPr>
      <c:txPr>
        <a:bodyPr/>
        <a:lstStyle/>
        <a:p>
          <a:pPr>
            <a:defRPr sz="1050" b="0" i="0" u="none" strike="noStrike" baseline="0">
              <a:solidFill>
                <a:schemeClr val="tx2"/>
              </a:solidFill>
              <a:latin typeface="Verdana" panose="020B0604030504040204" pitchFamily="34" charset="0"/>
              <a:ea typeface="Arial"/>
              <a:cs typeface="Arial"/>
            </a:defRPr>
          </a:pPr>
          <a:endParaRPr lang="fi-FI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948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fi-FI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5676860397454752E-2"/>
          <c:y val="6.3860381253934756E-2"/>
          <c:w val="0.89915957979696026"/>
          <c:h val="0.6625988316113022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ul1!$B$1</c:f>
              <c:strCache>
                <c:ptCount val="1"/>
                <c:pt idx="0">
                  <c:v>Henkilöstömäärän muutos edelliseen neljännekseen verrattuna</c:v>
                </c:pt>
              </c:strCache>
            </c:strRef>
          </c:tx>
          <c:spPr>
            <a:solidFill>
              <a:srgbClr val="141F94"/>
            </a:solidFill>
            <a:ln>
              <a:noFill/>
            </a:ln>
            <a:effectLst/>
          </c:spPr>
          <c:invertIfNegative val="0"/>
          <c:cat>
            <c:strRef>
              <c:f>Taul1!$A$4:$A$32</c:f>
              <c:strCache>
                <c:ptCount val="29"/>
                <c:pt idx="0">
                  <c:v>2015Q1</c:v>
                </c:pt>
                <c:pt idx="1">
                  <c:v>2015Q2</c:v>
                </c:pt>
                <c:pt idx="2">
                  <c:v>2015Q3</c:v>
                </c:pt>
                <c:pt idx="3">
                  <c:v>2015Q4</c:v>
                </c:pt>
                <c:pt idx="4">
                  <c:v>2016Q1</c:v>
                </c:pt>
                <c:pt idx="5">
                  <c:v>2016Q2</c:v>
                </c:pt>
                <c:pt idx="6">
                  <c:v>2016Q3</c:v>
                </c:pt>
                <c:pt idx="7">
                  <c:v>2016Q4</c:v>
                </c:pt>
                <c:pt idx="8">
                  <c:v>2017Q1</c:v>
                </c:pt>
                <c:pt idx="9">
                  <c:v>2017Q2</c:v>
                </c:pt>
                <c:pt idx="10">
                  <c:v>2017Q3</c:v>
                </c:pt>
                <c:pt idx="11">
                  <c:v>2017Q4</c:v>
                </c:pt>
                <c:pt idx="12">
                  <c:v>2018Q1</c:v>
                </c:pt>
                <c:pt idx="13">
                  <c:v>2018Q2</c:v>
                </c:pt>
                <c:pt idx="14">
                  <c:v>2018Q3</c:v>
                </c:pt>
                <c:pt idx="15">
                  <c:v>2018Q4</c:v>
                </c:pt>
                <c:pt idx="16">
                  <c:v>2019Q1</c:v>
                </c:pt>
                <c:pt idx="17">
                  <c:v>2019Q2</c:v>
                </c:pt>
                <c:pt idx="18">
                  <c:v>2019Q3</c:v>
                </c:pt>
                <c:pt idx="19">
                  <c:v>2019Q4</c:v>
                </c:pt>
                <c:pt idx="20">
                  <c:v>2020Q1</c:v>
                </c:pt>
                <c:pt idx="21">
                  <c:v>2020Q2</c:v>
                </c:pt>
                <c:pt idx="22">
                  <c:v>2020Q3</c:v>
                </c:pt>
                <c:pt idx="23">
                  <c:v>2020Q4</c:v>
                </c:pt>
                <c:pt idx="24">
                  <c:v>2021Q1</c:v>
                </c:pt>
                <c:pt idx="25">
                  <c:v>2021Q2</c:v>
                </c:pt>
                <c:pt idx="26">
                  <c:v>2021Q3</c:v>
                </c:pt>
                <c:pt idx="27">
                  <c:v>2021Q4</c:v>
                </c:pt>
                <c:pt idx="28">
                  <c:v>2022Q1</c:v>
                </c:pt>
              </c:strCache>
            </c:strRef>
          </c:cat>
          <c:val>
            <c:numRef>
              <c:f>Taul1!$B$4:$B$32</c:f>
              <c:numCache>
                <c:formatCode>General</c:formatCode>
                <c:ptCount val="29"/>
                <c:pt idx="0">
                  <c:v>500</c:v>
                </c:pt>
                <c:pt idx="1">
                  <c:v>1464.6108658704907</c:v>
                </c:pt>
                <c:pt idx="2">
                  <c:v>-1043.8445894536562</c:v>
                </c:pt>
                <c:pt idx="3">
                  <c:v>-2242.6661510239355</c:v>
                </c:pt>
                <c:pt idx="4">
                  <c:v>-423.86039099266054</c:v>
                </c:pt>
                <c:pt idx="5">
                  <c:v>783.61812865873799</c:v>
                </c:pt>
                <c:pt idx="6">
                  <c:v>-1880.5028571592993</c:v>
                </c:pt>
                <c:pt idx="7">
                  <c:v>577.85174448625185</c:v>
                </c:pt>
                <c:pt idx="8">
                  <c:v>2477</c:v>
                </c:pt>
                <c:pt idx="9">
                  <c:v>3855</c:v>
                </c:pt>
                <c:pt idx="10">
                  <c:v>1906</c:v>
                </c:pt>
                <c:pt idx="11">
                  <c:v>1556</c:v>
                </c:pt>
                <c:pt idx="12">
                  <c:v>2395</c:v>
                </c:pt>
                <c:pt idx="13">
                  <c:v>4631</c:v>
                </c:pt>
                <c:pt idx="14" formatCode="#,##0">
                  <c:v>4578</c:v>
                </c:pt>
                <c:pt idx="15">
                  <c:v>756</c:v>
                </c:pt>
                <c:pt idx="16">
                  <c:v>3414</c:v>
                </c:pt>
                <c:pt idx="17">
                  <c:v>2632</c:v>
                </c:pt>
                <c:pt idx="18">
                  <c:v>1555</c:v>
                </c:pt>
                <c:pt idx="19">
                  <c:v>-757</c:v>
                </c:pt>
                <c:pt idx="20">
                  <c:v>-379</c:v>
                </c:pt>
                <c:pt idx="21">
                  <c:v>-2512</c:v>
                </c:pt>
                <c:pt idx="22">
                  <c:v>-1443</c:v>
                </c:pt>
                <c:pt idx="23" formatCode="#,##0">
                  <c:v>-1674.7485992709408</c:v>
                </c:pt>
                <c:pt idx="24">
                  <c:v>1159</c:v>
                </c:pt>
                <c:pt idx="25">
                  <c:v>3050</c:v>
                </c:pt>
                <c:pt idx="26">
                  <c:v>2200</c:v>
                </c:pt>
                <c:pt idx="27">
                  <c:v>1060</c:v>
                </c:pt>
                <c:pt idx="28">
                  <c:v>57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36D-4616-AB7B-BA4A9C22802B}"/>
            </c:ext>
          </c:extLst>
        </c:ser>
        <c:ser>
          <c:idx val="1"/>
          <c:order val="1"/>
          <c:tx>
            <c:strRef>
              <c:f>Taul1!$C$1</c:f>
              <c:strCache>
                <c:ptCount val="1"/>
                <c:pt idx="0">
                  <c:v>Neljänneksen aikana rekrytoitujen määrä</c:v>
                </c:pt>
              </c:strCache>
            </c:strRef>
          </c:tx>
          <c:spPr>
            <a:solidFill>
              <a:srgbClr val="FF805C"/>
            </a:solidFill>
            <a:ln>
              <a:noFill/>
            </a:ln>
            <a:effectLst/>
          </c:spPr>
          <c:invertIfNegative val="0"/>
          <c:cat>
            <c:strRef>
              <c:f>Taul1!$A$4:$A$32</c:f>
              <c:strCache>
                <c:ptCount val="29"/>
                <c:pt idx="0">
                  <c:v>2015Q1</c:v>
                </c:pt>
                <c:pt idx="1">
                  <c:v>2015Q2</c:v>
                </c:pt>
                <c:pt idx="2">
                  <c:v>2015Q3</c:v>
                </c:pt>
                <c:pt idx="3">
                  <c:v>2015Q4</c:v>
                </c:pt>
                <c:pt idx="4">
                  <c:v>2016Q1</c:v>
                </c:pt>
                <c:pt idx="5">
                  <c:v>2016Q2</c:v>
                </c:pt>
                <c:pt idx="6">
                  <c:v>2016Q3</c:v>
                </c:pt>
                <c:pt idx="7">
                  <c:v>2016Q4</c:v>
                </c:pt>
                <c:pt idx="8">
                  <c:v>2017Q1</c:v>
                </c:pt>
                <c:pt idx="9">
                  <c:v>2017Q2</c:v>
                </c:pt>
                <c:pt idx="10">
                  <c:v>2017Q3</c:v>
                </c:pt>
                <c:pt idx="11">
                  <c:v>2017Q4</c:v>
                </c:pt>
                <c:pt idx="12">
                  <c:v>2018Q1</c:v>
                </c:pt>
                <c:pt idx="13">
                  <c:v>2018Q2</c:v>
                </c:pt>
                <c:pt idx="14">
                  <c:v>2018Q3</c:v>
                </c:pt>
                <c:pt idx="15">
                  <c:v>2018Q4</c:v>
                </c:pt>
                <c:pt idx="16">
                  <c:v>2019Q1</c:v>
                </c:pt>
                <c:pt idx="17">
                  <c:v>2019Q2</c:v>
                </c:pt>
                <c:pt idx="18">
                  <c:v>2019Q3</c:v>
                </c:pt>
                <c:pt idx="19">
                  <c:v>2019Q4</c:v>
                </c:pt>
                <c:pt idx="20">
                  <c:v>2020Q1</c:v>
                </c:pt>
                <c:pt idx="21">
                  <c:v>2020Q2</c:v>
                </c:pt>
                <c:pt idx="22">
                  <c:v>2020Q3</c:v>
                </c:pt>
                <c:pt idx="23">
                  <c:v>2020Q4</c:v>
                </c:pt>
                <c:pt idx="24">
                  <c:v>2021Q1</c:v>
                </c:pt>
                <c:pt idx="25">
                  <c:v>2021Q2</c:v>
                </c:pt>
                <c:pt idx="26">
                  <c:v>2021Q3</c:v>
                </c:pt>
                <c:pt idx="27">
                  <c:v>2021Q4</c:v>
                </c:pt>
                <c:pt idx="28">
                  <c:v>2022Q1</c:v>
                </c:pt>
              </c:strCache>
            </c:strRef>
          </c:cat>
          <c:val>
            <c:numRef>
              <c:f>Taul1!$C$4:$C$32</c:f>
              <c:numCache>
                <c:formatCode>#,##0</c:formatCode>
                <c:ptCount val="29"/>
                <c:pt idx="0">
                  <c:v>7851.4313289360571</c:v>
                </c:pt>
                <c:pt idx="1">
                  <c:v>6685.9122554600544</c:v>
                </c:pt>
                <c:pt idx="2" formatCode="General">
                  <c:v>7700</c:v>
                </c:pt>
                <c:pt idx="3">
                  <c:v>6176.3555772662821</c:v>
                </c:pt>
                <c:pt idx="4">
                  <c:v>7537.782188740196</c:v>
                </c:pt>
                <c:pt idx="5">
                  <c:v>6857.0390325418875</c:v>
                </c:pt>
                <c:pt idx="6" formatCode="General">
                  <c:v>6818</c:v>
                </c:pt>
                <c:pt idx="7" formatCode="General">
                  <c:v>7300</c:v>
                </c:pt>
                <c:pt idx="8" formatCode="General">
                  <c:v>11000</c:v>
                </c:pt>
                <c:pt idx="9" formatCode="General">
                  <c:v>11600</c:v>
                </c:pt>
                <c:pt idx="10" formatCode="General">
                  <c:v>10900</c:v>
                </c:pt>
                <c:pt idx="11" formatCode="General">
                  <c:v>9000</c:v>
                </c:pt>
                <c:pt idx="12">
                  <c:v>11000</c:v>
                </c:pt>
                <c:pt idx="13" formatCode="General">
                  <c:v>14600</c:v>
                </c:pt>
                <c:pt idx="14" formatCode="General">
                  <c:v>14700</c:v>
                </c:pt>
                <c:pt idx="15" formatCode="General">
                  <c:v>9600</c:v>
                </c:pt>
                <c:pt idx="16">
                  <c:v>12400</c:v>
                </c:pt>
                <c:pt idx="17" formatCode="General">
                  <c:v>11400</c:v>
                </c:pt>
                <c:pt idx="18" formatCode="General">
                  <c:v>9400</c:v>
                </c:pt>
                <c:pt idx="19" formatCode="General">
                  <c:v>7300</c:v>
                </c:pt>
                <c:pt idx="20">
                  <c:v>10400</c:v>
                </c:pt>
                <c:pt idx="21" formatCode="General">
                  <c:v>5900</c:v>
                </c:pt>
                <c:pt idx="22" formatCode="General">
                  <c:v>5500</c:v>
                </c:pt>
                <c:pt idx="23" formatCode="General">
                  <c:v>6500</c:v>
                </c:pt>
                <c:pt idx="24" formatCode="General">
                  <c:v>9500</c:v>
                </c:pt>
                <c:pt idx="25" formatCode="General">
                  <c:v>11500</c:v>
                </c:pt>
                <c:pt idx="26" formatCode="General">
                  <c:v>14000</c:v>
                </c:pt>
                <c:pt idx="27" formatCode="General">
                  <c:v>11500</c:v>
                </c:pt>
                <c:pt idx="28" formatCode="General">
                  <c:v>148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36D-4616-AB7B-BA4A9C2280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-21"/>
        <c:axId val="368210920"/>
        <c:axId val="368211704"/>
      </c:barChart>
      <c:catAx>
        <c:axId val="368210920"/>
        <c:scaling>
          <c:orientation val="minMax"/>
        </c:scaling>
        <c:delete val="0"/>
        <c:axPos val="b"/>
        <c:numFmt formatCode="General" sourceLinked="1"/>
        <c:majorTickMark val="cross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fi-FI" sz="105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368211704"/>
        <c:crosses val="autoZero"/>
        <c:auto val="1"/>
        <c:lblAlgn val="ctr"/>
        <c:lblOffset val="0"/>
        <c:noMultiLvlLbl val="0"/>
      </c:catAx>
      <c:valAx>
        <c:axId val="368211704"/>
        <c:scaling>
          <c:orientation val="minMax"/>
          <c:min val="-4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3682109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2.1876346646111267E-2"/>
          <c:y val="0.91633433036153356"/>
          <c:w val="0.95491074975467694"/>
          <c:h val="6.603157705948033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lang="fi-FI" sz="1050" b="0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fi-FI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r>
              <a:rPr lang="en-US" sz="11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knologiateollisuus</a:t>
            </a:r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6F2C89C3-1639-C64F-B7DC-4038F10D3C80}" type="slidenum">
              <a: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‹#›</a:t>
            </a:fld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6375265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2" tIns="45716" rIns="91432" bIns="45716" rtlCol="0" anchor="ctr"/>
          <a:lstStyle/>
          <a:p>
            <a:endParaRPr lang="fi-FI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432" tIns="45716" rIns="91432" bIns="45716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fi-FI" dirty="0"/>
              <a:t>Teknologiateollisuu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B5A0B3B4-F971-4AD3-B530-DE860EFC07D2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248243881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679871" rtl="0" eaLnBrk="1" latinLnBrk="0" hangingPunct="1">
      <a:defRPr sz="9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1pPr>
    <a:lvl2pPr marL="339932" algn="l" defTabSz="679871" rtl="0" eaLnBrk="1" latinLnBrk="0" hangingPunct="1">
      <a:defRPr sz="9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2pPr>
    <a:lvl3pPr marL="679871" algn="l" defTabSz="679871" rtl="0" eaLnBrk="1" latinLnBrk="0" hangingPunct="1">
      <a:defRPr sz="9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3pPr>
    <a:lvl4pPr marL="1019807" algn="l" defTabSz="679871" rtl="0" eaLnBrk="1" latinLnBrk="0" hangingPunct="1">
      <a:defRPr sz="9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4pPr>
    <a:lvl5pPr marL="1359744" algn="l" defTabSz="679871" rtl="0" eaLnBrk="1" latinLnBrk="0" hangingPunct="1">
      <a:defRPr sz="9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5pPr>
    <a:lvl6pPr marL="1699681" algn="l" defTabSz="679871" rtl="0" eaLnBrk="1" latinLnBrk="0" hangingPunct="1">
      <a:defRPr sz="893" kern="1200">
        <a:solidFill>
          <a:schemeClr val="tx1"/>
        </a:solidFill>
        <a:latin typeface="+mn-lt"/>
        <a:ea typeface="+mn-ea"/>
        <a:cs typeface="+mn-cs"/>
      </a:defRPr>
    </a:lvl6pPr>
    <a:lvl7pPr marL="2039614" algn="l" defTabSz="679871" rtl="0" eaLnBrk="1" latinLnBrk="0" hangingPunct="1">
      <a:defRPr sz="893" kern="1200">
        <a:solidFill>
          <a:schemeClr val="tx1"/>
        </a:solidFill>
        <a:latin typeface="+mn-lt"/>
        <a:ea typeface="+mn-ea"/>
        <a:cs typeface="+mn-cs"/>
      </a:defRPr>
    </a:lvl7pPr>
    <a:lvl8pPr marL="2379548" algn="l" defTabSz="679871" rtl="0" eaLnBrk="1" latinLnBrk="0" hangingPunct="1">
      <a:defRPr sz="893" kern="1200">
        <a:solidFill>
          <a:schemeClr val="tx1"/>
        </a:solidFill>
        <a:latin typeface="+mn-lt"/>
        <a:ea typeface="+mn-ea"/>
        <a:cs typeface="+mn-cs"/>
      </a:defRPr>
    </a:lvl8pPr>
    <a:lvl9pPr marL="2719486" algn="l" defTabSz="679871" rtl="0" eaLnBrk="1" latinLnBrk="0" hangingPunct="1">
      <a:defRPr sz="893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fi-FI" sz="1400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2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1596781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3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6889972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i-FI"/>
              <a:t>Teknologiateollisuus</a:t>
            </a:r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4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3970240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i-FI"/>
              <a:t>Teknologiateollisuus</a:t>
            </a:r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5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6285755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8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114127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9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8351830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13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7545540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fi-FI" sz="1400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17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1681369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5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3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5.png"/><Relationship Id="rId18" Type="http://schemas.openxmlformats.org/officeDocument/2006/relationships/image" Target="../media/image20.png"/><Relationship Id="rId26" Type="http://schemas.openxmlformats.org/officeDocument/2006/relationships/image" Target="../media/image28.png"/><Relationship Id="rId39" Type="http://schemas.openxmlformats.org/officeDocument/2006/relationships/image" Target="../media/image41.png"/><Relationship Id="rId21" Type="http://schemas.openxmlformats.org/officeDocument/2006/relationships/image" Target="../media/image23.png"/><Relationship Id="rId34" Type="http://schemas.openxmlformats.org/officeDocument/2006/relationships/image" Target="../media/image36.png"/><Relationship Id="rId42" Type="http://schemas.openxmlformats.org/officeDocument/2006/relationships/image" Target="../media/image44.png"/><Relationship Id="rId47" Type="http://schemas.openxmlformats.org/officeDocument/2006/relationships/image" Target="../media/image49.png"/><Relationship Id="rId50" Type="http://schemas.openxmlformats.org/officeDocument/2006/relationships/image" Target="../media/image52.png"/><Relationship Id="rId55" Type="http://schemas.openxmlformats.org/officeDocument/2006/relationships/image" Target="../media/image57.png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17" Type="http://schemas.openxmlformats.org/officeDocument/2006/relationships/image" Target="../media/image19.png"/><Relationship Id="rId25" Type="http://schemas.openxmlformats.org/officeDocument/2006/relationships/image" Target="../media/image27.png"/><Relationship Id="rId33" Type="http://schemas.openxmlformats.org/officeDocument/2006/relationships/image" Target="../media/image35.png"/><Relationship Id="rId38" Type="http://schemas.openxmlformats.org/officeDocument/2006/relationships/image" Target="../media/image40.png"/><Relationship Id="rId46" Type="http://schemas.openxmlformats.org/officeDocument/2006/relationships/image" Target="../media/image48.png"/><Relationship Id="rId59" Type="http://schemas.openxmlformats.org/officeDocument/2006/relationships/image" Target="../media/image61.emf"/><Relationship Id="rId2" Type="http://schemas.openxmlformats.org/officeDocument/2006/relationships/tags" Target="../tags/tag13.xml"/><Relationship Id="rId16" Type="http://schemas.openxmlformats.org/officeDocument/2006/relationships/image" Target="../media/image18.png"/><Relationship Id="rId20" Type="http://schemas.openxmlformats.org/officeDocument/2006/relationships/image" Target="../media/image22.png"/><Relationship Id="rId29" Type="http://schemas.openxmlformats.org/officeDocument/2006/relationships/image" Target="../media/image31.png"/><Relationship Id="rId41" Type="http://schemas.openxmlformats.org/officeDocument/2006/relationships/image" Target="../media/image43.png"/><Relationship Id="rId54" Type="http://schemas.openxmlformats.org/officeDocument/2006/relationships/image" Target="../media/image56.png"/><Relationship Id="rId1" Type="http://schemas.openxmlformats.org/officeDocument/2006/relationships/tags" Target="../tags/tag12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24" Type="http://schemas.openxmlformats.org/officeDocument/2006/relationships/image" Target="../media/image26.png"/><Relationship Id="rId32" Type="http://schemas.openxmlformats.org/officeDocument/2006/relationships/image" Target="../media/image34.png"/><Relationship Id="rId37" Type="http://schemas.openxmlformats.org/officeDocument/2006/relationships/image" Target="../media/image39.png"/><Relationship Id="rId40" Type="http://schemas.openxmlformats.org/officeDocument/2006/relationships/image" Target="../media/image42.png"/><Relationship Id="rId45" Type="http://schemas.openxmlformats.org/officeDocument/2006/relationships/image" Target="../media/image47.png"/><Relationship Id="rId53" Type="http://schemas.openxmlformats.org/officeDocument/2006/relationships/image" Target="../media/image55.png"/><Relationship Id="rId58" Type="http://schemas.openxmlformats.org/officeDocument/2006/relationships/image" Target="../media/image60.emf"/><Relationship Id="rId5" Type="http://schemas.openxmlformats.org/officeDocument/2006/relationships/image" Target="../media/image6.emf"/><Relationship Id="rId15" Type="http://schemas.openxmlformats.org/officeDocument/2006/relationships/image" Target="../media/image17.png"/><Relationship Id="rId23" Type="http://schemas.openxmlformats.org/officeDocument/2006/relationships/image" Target="../media/image25.png"/><Relationship Id="rId28" Type="http://schemas.openxmlformats.org/officeDocument/2006/relationships/image" Target="../media/image30.png"/><Relationship Id="rId36" Type="http://schemas.openxmlformats.org/officeDocument/2006/relationships/image" Target="../media/image38.png"/><Relationship Id="rId49" Type="http://schemas.openxmlformats.org/officeDocument/2006/relationships/image" Target="../media/image51.png"/><Relationship Id="rId57" Type="http://schemas.openxmlformats.org/officeDocument/2006/relationships/image" Target="../media/image59.png"/><Relationship Id="rId10" Type="http://schemas.openxmlformats.org/officeDocument/2006/relationships/image" Target="../media/image12.png"/><Relationship Id="rId19" Type="http://schemas.openxmlformats.org/officeDocument/2006/relationships/image" Target="../media/image21.png"/><Relationship Id="rId31" Type="http://schemas.openxmlformats.org/officeDocument/2006/relationships/image" Target="../media/image33.png"/><Relationship Id="rId44" Type="http://schemas.openxmlformats.org/officeDocument/2006/relationships/image" Target="../media/image46.png"/><Relationship Id="rId52" Type="http://schemas.openxmlformats.org/officeDocument/2006/relationships/image" Target="../media/image54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11.png"/><Relationship Id="rId14" Type="http://schemas.openxmlformats.org/officeDocument/2006/relationships/image" Target="../media/image16.png"/><Relationship Id="rId22" Type="http://schemas.openxmlformats.org/officeDocument/2006/relationships/image" Target="../media/image24.png"/><Relationship Id="rId27" Type="http://schemas.openxmlformats.org/officeDocument/2006/relationships/image" Target="../media/image29.png"/><Relationship Id="rId30" Type="http://schemas.openxmlformats.org/officeDocument/2006/relationships/image" Target="../media/image32.png"/><Relationship Id="rId35" Type="http://schemas.openxmlformats.org/officeDocument/2006/relationships/image" Target="../media/image37.png"/><Relationship Id="rId43" Type="http://schemas.openxmlformats.org/officeDocument/2006/relationships/image" Target="../media/image45.png"/><Relationship Id="rId48" Type="http://schemas.openxmlformats.org/officeDocument/2006/relationships/image" Target="../media/image50.png"/><Relationship Id="rId56" Type="http://schemas.openxmlformats.org/officeDocument/2006/relationships/image" Target="../media/image58.png"/><Relationship Id="rId8" Type="http://schemas.openxmlformats.org/officeDocument/2006/relationships/image" Target="../media/image10.png"/><Relationship Id="rId51" Type="http://schemas.openxmlformats.org/officeDocument/2006/relationships/image" Target="../media/image53.png"/><Relationship Id="rId3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dia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Kuva 2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072269" y="1966957"/>
            <a:ext cx="4730093" cy="1172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1411044"/>
      </p:ext>
    </p:extLst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violetti">
    <p:bg>
      <p:bgPr>
        <a:solidFill>
          <a:srgbClr val="8A0FA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4B4512B-9268-4DA6-A4DE-9BAC66E0AE0F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62622885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pinkki">
    <p:bg>
      <p:bgPr>
        <a:solidFill>
          <a:srgbClr val="FF00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4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5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7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AF34066-C849-43D6-AD11-EC5B4E0FCE81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18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080886621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pinkki">
    <p:bg>
      <p:bgPr>
        <a:solidFill>
          <a:srgbClr val="FF00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DAFD31-6E2D-43E4-B45F-A91916303127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50421713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mandariini">
    <p:bg>
      <p:bgPr>
        <a:solidFill>
          <a:srgbClr val="FF8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05A29F8-3631-43D8-937B-CB2D984A1FF3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641818466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mandariini">
    <p:bg>
      <p:bgPr>
        <a:solidFill>
          <a:srgbClr val="FF8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A1FFB15-5351-4C69-B4D2-8C0154A2BCAF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7453004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omena">
    <p:bg>
      <p:bgPr>
        <a:solidFill>
          <a:srgbClr val="85E8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B4C9FC2-AB49-4BC7-8E34-F35776C6F0E4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667850046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omena">
    <p:bg>
      <p:bgPr>
        <a:solidFill>
          <a:srgbClr val="85E8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FD90D18-063C-4F97-88EB-7B998FCF1C84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5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39826258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sitruuna"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Kuva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rgbClr val="000000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0F905F96-8735-44CC-A79D-9FF4592D6200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549499557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sitruuna"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rgbClr val="000000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4D1D5393-FFB8-4AFB-965F-DF835FFEFFC2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buSzPct val="125000"/>
              <a:defRPr sz="1100">
                <a:solidFill>
                  <a:srgbClr val="000000"/>
                </a:solidFill>
              </a:defRPr>
            </a:lvl3pPr>
            <a:lvl4pPr indent="-158400">
              <a:buSzPct val="125000"/>
              <a:defRPr sz="100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97754279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eksti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4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1F9AB61F-25F5-4BAC-AFD2-7CF6AA8759C3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17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9" name="Tekstin paikkamerkki 3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  <p:sp>
        <p:nvSpPr>
          <p:cNvPr id="21" name="Tekstin paikkamerkki 2"/>
          <p:cNvSpPr>
            <a:spLocks noGrp="1"/>
          </p:cNvSpPr>
          <p:nvPr>
            <p:ph idx="19"/>
          </p:nvPr>
        </p:nvSpPr>
        <p:spPr>
          <a:xfrm>
            <a:off x="1072800" y="1582404"/>
            <a:ext cx="7171200" cy="28943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22" name="Tekstin paikkamerkki 28"/>
          <p:cNvSpPr>
            <a:spLocks noGrp="1"/>
          </p:cNvSpPr>
          <p:nvPr>
            <p:ph type="body" sz="quarter" idx="20" hasCustomPrompt="1"/>
          </p:nvPr>
        </p:nvSpPr>
        <p:spPr>
          <a:xfrm>
            <a:off x="1072800" y="1102950"/>
            <a:ext cx="71712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3290165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dia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9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881898"/>
            <a:ext cx="6977283" cy="1165268"/>
          </a:xfrm>
          <a:prstGeom prst="rect">
            <a:avLst/>
          </a:prstGeom>
        </p:spPr>
        <p:txBody>
          <a:bodyPr>
            <a:normAutofit/>
          </a:bodyPr>
          <a:lstStyle>
            <a:lvl1pPr marL="108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6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pää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0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2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553C366-6A2C-43B9-A437-B827E0484441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14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540390374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ekstille 2-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4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4E9C680B-B035-4481-9C89-9B8DCFA07DE9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17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9" name="Tekstin paikkamerkki 3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  <p:sp>
        <p:nvSpPr>
          <p:cNvPr id="11" name="Tekstin paikkamerkki 2"/>
          <p:cNvSpPr>
            <a:spLocks noGrp="1"/>
          </p:cNvSpPr>
          <p:nvPr>
            <p:ph idx="1"/>
          </p:nvPr>
        </p:nvSpPr>
        <p:spPr>
          <a:xfrm>
            <a:off x="4449254" y="1565735"/>
            <a:ext cx="3499200" cy="28943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12" name="Tekstin paikkamerkki 28"/>
          <p:cNvSpPr>
            <a:spLocks noGrp="1"/>
          </p:cNvSpPr>
          <p:nvPr>
            <p:ph type="body" sz="quarter" idx="17" hasCustomPrompt="1"/>
          </p:nvPr>
        </p:nvSpPr>
        <p:spPr>
          <a:xfrm>
            <a:off x="1072800" y="1102950"/>
            <a:ext cx="71712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28" name="Tekstin paikkamerkki 2"/>
          <p:cNvSpPr>
            <a:spLocks noGrp="1"/>
          </p:cNvSpPr>
          <p:nvPr>
            <p:ph idx="19"/>
          </p:nvPr>
        </p:nvSpPr>
        <p:spPr>
          <a:xfrm>
            <a:off x="1072800" y="1582404"/>
            <a:ext cx="3499200" cy="28943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2535803264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ekstille ja kuval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26EC10B7-6068-4592-8DF6-C21B5E169149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17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8" name="Tekstin paikkamerkki 2"/>
          <p:cNvSpPr>
            <a:spLocks noGrp="1"/>
          </p:cNvSpPr>
          <p:nvPr>
            <p:ph idx="19"/>
          </p:nvPr>
        </p:nvSpPr>
        <p:spPr>
          <a:xfrm>
            <a:off x="1072800" y="1584553"/>
            <a:ext cx="55296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10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0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9" name="Tekstin paikkamerkki 28"/>
          <p:cNvSpPr>
            <a:spLocks noGrp="1"/>
          </p:cNvSpPr>
          <p:nvPr>
            <p:ph type="body" sz="quarter" idx="21" hasCustomPrompt="1"/>
          </p:nvPr>
        </p:nvSpPr>
        <p:spPr>
          <a:xfrm>
            <a:off x="1072800" y="1104452"/>
            <a:ext cx="5529600" cy="365682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0" name="Kuvan paikkamerkki 6"/>
          <p:cNvSpPr>
            <a:spLocks noGrp="1"/>
          </p:cNvSpPr>
          <p:nvPr>
            <p:ph type="pic" sz="quarter" idx="20"/>
          </p:nvPr>
        </p:nvSpPr>
        <p:spPr>
          <a:xfrm>
            <a:off x="6775200" y="0"/>
            <a:ext cx="23688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rgbClr val="000000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12" name="Tekstin paikkamerkki 3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785668406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ekstille ja kuvall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B470C21F-BEA7-4001-A59E-ED99F75C48EF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17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19" name="Kuvan paikkamerkki 6"/>
          <p:cNvSpPr>
            <a:spLocks noGrp="1"/>
          </p:cNvSpPr>
          <p:nvPr>
            <p:ph type="pic" sz="quarter" idx="20"/>
          </p:nvPr>
        </p:nvSpPr>
        <p:spPr>
          <a:xfrm>
            <a:off x="5090400" y="0"/>
            <a:ext cx="4053606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rgbClr val="000000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8" name="Tekstin paikkamerkki 2"/>
          <p:cNvSpPr>
            <a:spLocks noGrp="1"/>
          </p:cNvSpPr>
          <p:nvPr>
            <p:ph idx="19"/>
          </p:nvPr>
        </p:nvSpPr>
        <p:spPr>
          <a:xfrm>
            <a:off x="1072800" y="1584554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7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10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0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9" name="Tekstin paikkamerkki 28"/>
          <p:cNvSpPr>
            <a:spLocks noGrp="1"/>
          </p:cNvSpPr>
          <p:nvPr>
            <p:ph type="body" sz="quarter" idx="21" hasCustomPrompt="1"/>
          </p:nvPr>
        </p:nvSpPr>
        <p:spPr>
          <a:xfrm>
            <a:off x="1072800" y="1104452"/>
            <a:ext cx="3844800" cy="365682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0" name="Tekstin paikkamerkki 3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032161638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pelkälle kuva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Kuvan paikkamerkki 6"/>
          <p:cNvSpPr>
            <a:spLocks noGrp="1"/>
          </p:cNvSpPr>
          <p:nvPr>
            <p:ph type="pic" sz="quarter" idx="20"/>
          </p:nvPr>
        </p:nvSpPr>
        <p:spPr>
          <a:xfrm>
            <a:off x="0" y="0"/>
            <a:ext cx="91440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rgbClr val="000000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964117059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aulukoi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9" name="Tekstin paikkamerkki 3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  <p:sp>
        <p:nvSpPr>
          <p:cNvPr id="11" name="Tekstin paikkamerkki 2"/>
          <p:cNvSpPr>
            <a:spLocks noGrp="1"/>
          </p:cNvSpPr>
          <p:nvPr>
            <p:ph type="body" sz="quarter" idx="23" hasCustomPrompt="1"/>
          </p:nvPr>
        </p:nvSpPr>
        <p:spPr>
          <a:xfrm>
            <a:off x="2334682" y="4727574"/>
            <a:ext cx="2971717" cy="165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spc="0" baseline="0"/>
            </a:lvl1pPr>
          </a:lstStyle>
          <a:p>
            <a:pPr lvl="0"/>
            <a:r>
              <a:rPr lang="fi-FI" dirty="0"/>
              <a:t>Lähde tähän</a:t>
            </a:r>
          </a:p>
        </p:txBody>
      </p:sp>
      <p:sp>
        <p:nvSpPr>
          <p:cNvPr id="19" name="Tekstin paikkamerkki 28"/>
          <p:cNvSpPr>
            <a:spLocks noGrp="1"/>
          </p:cNvSpPr>
          <p:nvPr>
            <p:ph type="body" sz="quarter" idx="21" hasCustomPrompt="1"/>
          </p:nvPr>
        </p:nvSpPr>
        <p:spPr>
          <a:xfrm>
            <a:off x="1072799" y="1102950"/>
            <a:ext cx="6868801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20" name="Sisällön paikkamerkki 4"/>
          <p:cNvSpPr>
            <a:spLocks noGrp="1"/>
          </p:cNvSpPr>
          <p:nvPr>
            <p:ph sz="quarter" idx="17"/>
          </p:nvPr>
        </p:nvSpPr>
        <p:spPr>
          <a:xfrm>
            <a:off x="1201739" y="1584200"/>
            <a:ext cx="6739862" cy="3010469"/>
          </a:xfrm>
        </p:spPr>
        <p:txBody>
          <a:bodyPr/>
          <a:lstStyle>
            <a:lvl1pPr marL="241200" indent="-212400">
              <a:buFont typeface="Arial" panose="020B0604020202020204" pitchFamily="34" charset="0"/>
              <a:buChar char="•"/>
              <a:defRPr/>
            </a:lvl1pPr>
            <a:lvl2pPr marL="471332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2pPr>
            <a:lvl3pPr marL="78619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3pPr>
            <a:lvl4pPr marL="110945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4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24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2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C26F1C2C-1F3D-4324-8DB1-2B3A728EB293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26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</p:spTree>
    <p:extLst>
      <p:ext uri="{BB962C8B-B14F-4D97-AF65-F5344CB8AC3E}">
        <p14:creationId xmlns:p14="http://schemas.microsoft.com/office/powerpoint/2010/main" val="875942832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ekstille ja tauluko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7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8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00B1868B-515C-4A84-A79A-DDEC623D6CDB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19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16" name="Tekstin paikkamerkki 2"/>
          <p:cNvSpPr>
            <a:spLocks noGrp="1"/>
          </p:cNvSpPr>
          <p:nvPr>
            <p:ph type="body" sz="quarter" idx="18" hasCustomPrompt="1"/>
          </p:nvPr>
        </p:nvSpPr>
        <p:spPr>
          <a:xfrm>
            <a:off x="2334682" y="4727574"/>
            <a:ext cx="2971717" cy="165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spc="0" baseline="0"/>
            </a:lvl1pPr>
          </a:lstStyle>
          <a:p>
            <a:pPr lvl="0"/>
            <a:r>
              <a:rPr lang="fi-FI" dirty="0"/>
              <a:t>Lähde tähän</a:t>
            </a:r>
          </a:p>
        </p:txBody>
      </p:sp>
      <p:sp>
        <p:nvSpPr>
          <p:cNvPr id="9" name="Tekstin paikkamerkki 28"/>
          <p:cNvSpPr>
            <a:spLocks noGrp="1"/>
          </p:cNvSpPr>
          <p:nvPr>
            <p:ph type="body" sz="quarter" idx="21" hasCustomPrompt="1"/>
          </p:nvPr>
        </p:nvSpPr>
        <p:spPr>
          <a:xfrm>
            <a:off x="1072799" y="1102950"/>
            <a:ext cx="6868801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1" name="Tekstin paikkamerkki 3"/>
          <p:cNvSpPr>
            <a:spLocks noGrp="1"/>
          </p:cNvSpPr>
          <p:nvPr>
            <p:ph type="body" sz="quarter" idx="22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  <p:sp>
        <p:nvSpPr>
          <p:cNvPr id="13" name="Sisällön paikkamerkki 4"/>
          <p:cNvSpPr>
            <a:spLocks noGrp="1"/>
          </p:cNvSpPr>
          <p:nvPr>
            <p:ph sz="quarter" idx="23" hasCustomPrompt="1"/>
          </p:nvPr>
        </p:nvSpPr>
        <p:spPr>
          <a:xfrm>
            <a:off x="4572001" y="1584200"/>
            <a:ext cx="3369600" cy="2892550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471332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2pPr>
            <a:lvl3pPr marL="78619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3pPr>
            <a:lvl4pPr marL="110945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4pPr>
          </a:lstStyle>
          <a:p>
            <a:pPr lvl="0"/>
            <a:r>
              <a:rPr lang="fi-FI" dirty="0"/>
              <a:t>Lisää objekti</a:t>
            </a:r>
          </a:p>
        </p:txBody>
      </p:sp>
      <p:sp>
        <p:nvSpPr>
          <p:cNvPr id="12" name="Tekstin paikkamerkki 2"/>
          <p:cNvSpPr>
            <a:spLocks noGrp="1"/>
          </p:cNvSpPr>
          <p:nvPr>
            <p:ph idx="19"/>
          </p:nvPr>
        </p:nvSpPr>
        <p:spPr>
          <a:xfrm>
            <a:off x="1072800" y="1582404"/>
            <a:ext cx="3499200" cy="28943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2687386369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isoille taulukoi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252000" y="282150"/>
            <a:ext cx="7992000" cy="648000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7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8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E70C97DB-DA9C-4CFA-B970-B8599B25F3E4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19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5" name="Sisällön paikkamerkki 4"/>
          <p:cNvSpPr>
            <a:spLocks noGrp="1"/>
          </p:cNvSpPr>
          <p:nvPr>
            <p:ph sz="quarter" idx="17"/>
          </p:nvPr>
        </p:nvSpPr>
        <p:spPr>
          <a:xfrm>
            <a:off x="381000" y="1103313"/>
            <a:ext cx="8391525" cy="3541712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471332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2pPr>
            <a:lvl3pPr marL="78619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3pPr>
            <a:lvl4pPr marL="110945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4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6" name="Tekstin paikkamerkki 2"/>
          <p:cNvSpPr>
            <a:spLocks noGrp="1"/>
          </p:cNvSpPr>
          <p:nvPr>
            <p:ph type="body" sz="quarter" idx="18" hasCustomPrompt="1"/>
          </p:nvPr>
        </p:nvSpPr>
        <p:spPr>
          <a:xfrm>
            <a:off x="2334682" y="4727574"/>
            <a:ext cx="2971717" cy="165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spc="0" baseline="0"/>
            </a:lvl1pPr>
          </a:lstStyle>
          <a:p>
            <a:pPr lvl="0"/>
            <a:r>
              <a:rPr lang="fi-FI" dirty="0"/>
              <a:t>Lähde tähän</a:t>
            </a:r>
          </a:p>
        </p:txBody>
      </p:sp>
    </p:spTree>
    <p:extLst>
      <p:ext uri="{BB962C8B-B14F-4D97-AF65-F5344CB8AC3E}">
        <p14:creationId xmlns:p14="http://schemas.microsoft.com/office/powerpoint/2010/main" val="1067460176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hjä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Kuva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3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E70C97DB-DA9C-4CFA-B970-B8599B25F3E4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7" name="Tekstin paikkamerkki 3"/>
          <p:cNvSpPr>
            <a:spLocks noGrp="1"/>
          </p:cNvSpPr>
          <p:nvPr>
            <p:ph type="body" sz="quarter" idx="22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583285883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4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8D9E7F89-CFBC-40A6-849E-791F2CE17670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17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11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913747"/>
            <a:ext cx="7171200" cy="1176411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07341520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valkoin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rgbClr val="000000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4D1D5393-FFB8-4AFB-965F-DF835FFEFFC2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buSzPct val="125000"/>
              <a:defRPr sz="1100">
                <a:solidFill>
                  <a:srgbClr val="000000"/>
                </a:solidFill>
              </a:defRPr>
            </a:lvl3pPr>
            <a:lvl4pPr indent="-158400">
              <a:buSzPct val="125000"/>
              <a:defRPr sz="100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21886745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turkoosi">
    <p:bg>
      <p:bgPr>
        <a:solidFill>
          <a:srgbClr val="0ACF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9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0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2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D49F65-936D-47C1-B476-B10D0AC9DEC4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14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56958868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 THIS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0AD298-CA59-4422-8710-006C3EE08A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242927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0AD298-CA59-4422-8710-006C3EE08A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B0157B-4570-4DCB-A111-732D5969D4B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rgbClr val="00316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18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304465" y="4933765"/>
            <a:ext cx="578213" cy="144215"/>
          </a:xfrm>
        </p:spPr>
        <p:txBody>
          <a:bodyPr wrap="square" lIns="0" tIns="0" rIns="0" bIns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="1" i="0">
                <a:solidFill>
                  <a:srgbClr val="919191"/>
                </a:solidFill>
                <a:latin typeface="Arial Bold"/>
              </a:defRPr>
            </a:lvl1pPr>
          </a:lstStyle>
          <a:p>
            <a:fld id="{0D558541-60C9-42A2-8392-FF12533A6B7A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8764" y="57151"/>
            <a:ext cx="8142287" cy="514073"/>
          </a:xfrm>
        </p:spPr>
        <p:txBody>
          <a:bodyPr rIns="0"/>
          <a:lstStyle>
            <a:lvl1pPr>
              <a:defRPr sz="1800" b="1" spc="0">
                <a:latin typeface="+mn-lt"/>
              </a:defRPr>
            </a:lvl1pPr>
          </a:lstStyle>
          <a:p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styl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819550065"/>
      </p:ext>
    </p:extLst>
  </p:cSld>
  <p:clrMapOvr>
    <a:masterClrMapping/>
  </p:clrMapOvr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 THIS -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0AD298-CA59-4422-8710-006C3EE08A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463369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0AD298-CA59-4422-8710-006C3EE08A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B0157B-4570-4DCB-A111-732D5969D4B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rgbClr val="00316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18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304465" y="4933765"/>
            <a:ext cx="578213" cy="144215"/>
          </a:xfrm>
        </p:spPr>
        <p:txBody>
          <a:bodyPr wrap="square" lIns="0" tIns="0" rIns="0" bIns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="1" i="0">
                <a:solidFill>
                  <a:srgbClr val="919191"/>
                </a:solidFill>
                <a:latin typeface="Arial Bold"/>
              </a:defRPr>
            </a:lvl1pPr>
          </a:lstStyle>
          <a:p>
            <a:fld id="{0D558541-60C9-42A2-8392-FF12533A6B7A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8764" y="228877"/>
            <a:ext cx="8618537" cy="285473"/>
          </a:xfrm>
        </p:spPr>
        <p:txBody>
          <a:bodyPr rIns="0"/>
          <a:lstStyle>
            <a:lvl1pPr>
              <a:defRPr sz="1800" b="1" spc="0">
                <a:latin typeface="+mn-lt"/>
              </a:defRPr>
            </a:lvl1pPr>
          </a:lstStyle>
          <a:p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styl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601389939"/>
      </p:ext>
    </p:extLst>
  </p:cSld>
  <p:clrMapOvr>
    <a:masterClrMapping/>
  </p:clrMapOvr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FA322E5-B71D-4377-B689-83E211BD45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371665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FA322E5-B71D-4377-B689-83E211BD45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92097" y="1160411"/>
            <a:ext cx="3637721" cy="886914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100000"/>
              </a:lnSpc>
              <a:spcBef>
                <a:spcPts val="0"/>
              </a:spcBef>
              <a:defRPr sz="2400" spc="-30" baseline="0">
                <a:latin typeface="+mj-lt"/>
              </a:defRPr>
            </a:lvl1pPr>
          </a:lstStyle>
          <a:p>
            <a:pPr lvl="0"/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line</a:t>
            </a:r>
            <a:endParaRPr lang="fi-FI" dirty="0"/>
          </a:p>
          <a:p>
            <a:pPr lvl="0"/>
            <a:r>
              <a:rPr lang="fi-FI" dirty="0"/>
              <a:t>Second </a:t>
            </a:r>
            <a:r>
              <a:rPr lang="fi-FI" dirty="0" err="1"/>
              <a:t>line</a:t>
            </a:r>
            <a:endParaRPr lang="fi-FI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2097" y="2094926"/>
            <a:ext cx="3637721" cy="513532"/>
          </a:xfrm>
          <a:prstGeom prst="rect">
            <a:avLst/>
          </a:prstGeom>
        </p:spPr>
        <p:txBody>
          <a:bodyPr/>
          <a:lstStyle>
            <a:lvl1pPr>
              <a:lnSpc>
                <a:spcPts val="1360"/>
              </a:lnSpc>
              <a:defRPr sz="1400" b="0" spc="-30" baseline="0">
                <a:latin typeface="+mn-lt"/>
              </a:defRPr>
            </a:lvl1pPr>
          </a:lstStyle>
          <a:p>
            <a:pPr lvl="0"/>
            <a:r>
              <a:rPr lang="fi-FI" dirty="0"/>
              <a:t>THIS IS A SUBTITLE LINE AND SECOND LINE OF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92097" y="2731031"/>
            <a:ext cx="3637721" cy="513532"/>
          </a:xfrm>
          <a:prstGeom prst="rect">
            <a:avLst/>
          </a:prstGeom>
        </p:spPr>
        <p:txBody>
          <a:bodyPr/>
          <a:lstStyle>
            <a:lvl1pPr>
              <a:lnSpc>
                <a:spcPts val="1360"/>
              </a:lnSpc>
              <a:defRPr sz="1050" b="0" i="1" spc="-30" baseline="0">
                <a:latin typeface="+mn-lt"/>
              </a:defRPr>
            </a:lvl1pPr>
          </a:lstStyle>
          <a:p>
            <a:pPr lvl="0"/>
            <a:r>
              <a:rPr lang="fi-FI" dirty="0"/>
              <a:t>THIS IS ANOTHER SUBTITLE LINE E.G. FOR DATE</a:t>
            </a:r>
          </a:p>
        </p:txBody>
      </p:sp>
    </p:spTree>
    <p:extLst>
      <p:ext uri="{BB962C8B-B14F-4D97-AF65-F5344CB8AC3E}">
        <p14:creationId xmlns:p14="http://schemas.microsoft.com/office/powerpoint/2010/main" val="1797033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ADBD48-2A4D-4DFE-A840-1CE2BC41E5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822639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8" imgH="288" progId="TCLayout.ActiveDocument.1">
                  <p:embed/>
                </p:oleObj>
              </mc:Choice>
              <mc:Fallback>
                <p:oleObj name="think-cell Slide" r:id="rId4" imgW="288" imgH="28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ADBD48-2A4D-4DFE-A840-1CE2BC41E5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D21FD4C-0EA6-4506-B4AC-9F911CD1022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fi-FI" sz="1800" b="1" i="0" baseline="0" dirty="0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122991-DF40-428D-8278-DE0B22D4C3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style</a:t>
            </a:r>
            <a:endParaRPr lang="fi-FI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F22EE1-19C0-47B3-AA8E-FB77BD29AC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ext</a:t>
            </a:r>
            <a:r>
              <a:rPr lang="fi-FI" dirty="0"/>
              <a:t> </a:t>
            </a:r>
            <a:r>
              <a:rPr lang="fi-FI" dirty="0" err="1"/>
              <a:t>styles</a:t>
            </a:r>
            <a:endParaRPr lang="fi-FI" dirty="0"/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</a:t>
            </a:r>
            <a:r>
              <a:rPr lang="fi-FI" dirty="0" err="1"/>
              <a:t>level</a:t>
            </a:r>
            <a:endParaRPr lang="fi-FI" dirty="0"/>
          </a:p>
          <a:p>
            <a:pPr lvl="3"/>
            <a:r>
              <a:rPr lang="fi-FI" dirty="0" err="1"/>
              <a:t>Four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fi-FI" dirty="0"/>
          </a:p>
          <a:p>
            <a:pPr lvl="4"/>
            <a:r>
              <a:rPr lang="fi-FI" dirty="0" err="1"/>
              <a:t>Fif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fi-FI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D32B6D-E343-4575-8379-34AAE525A71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58541-60C9-42A2-8392-FF12533A6B7A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27388285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USE THIS ONE - ALW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345580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18419945-10F9-457B-A478-3D5BDAB1A90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fi-FI" sz="21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8764" y="141685"/>
            <a:ext cx="8618537" cy="582104"/>
          </a:xfrm>
        </p:spPr>
        <p:txBody>
          <a:bodyPr wrap="square" lIns="0" tIns="0" rIns="130101" bIns="0" anchor="b" anchorCtr="0">
            <a:noAutofit/>
          </a:bodyPr>
          <a:lstStyle>
            <a:lvl1pPr marL="0" indent="0" algn="l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FontTx/>
              <a:buNone/>
              <a:defRPr sz="2100" b="1" i="0">
                <a:solidFill>
                  <a:srgbClr val="000000"/>
                </a:solidFill>
                <a:latin typeface="Arial" panose="020B0604020202020204" pitchFamily="34" charset="0"/>
              </a:defRPr>
            </a:lvl1pPr>
          </a:lstStyle>
          <a:p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style</a:t>
            </a:r>
            <a:endParaRPr lang="fi-FI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376E75-BD4C-4462-8334-FA8FCB18789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8367" y="803781"/>
            <a:ext cx="5555456" cy="215504"/>
          </a:xfrm>
        </p:spPr>
        <p:txBody>
          <a:bodyPr/>
          <a:lstStyle>
            <a:lvl1pPr marL="0" indent="0">
              <a:buNone/>
              <a:defRPr sz="1350">
                <a:solidFill>
                  <a:schemeClr val="accent1"/>
                </a:solidFill>
              </a:defRPr>
            </a:lvl1pPr>
          </a:lstStyle>
          <a:p>
            <a:pPr lvl="0"/>
            <a:r>
              <a:rPr lang="fi-FI" dirty="0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3AE6E4E-0D08-4BE0-B16A-6A251B11522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1223" y="1099277"/>
            <a:ext cx="8632031" cy="3525111"/>
          </a:xfrm>
        </p:spPr>
        <p:txBody>
          <a:bodyPr/>
          <a:lstStyle>
            <a:lvl1pPr marL="269081" indent="-269081">
              <a:tabLst>
                <a:tab pos="269081" algn="l"/>
              </a:tabLst>
              <a:defRPr sz="1050">
                <a:solidFill>
                  <a:schemeClr val="tx1"/>
                </a:solidFill>
              </a:defRPr>
            </a:lvl1pPr>
            <a:lvl2pPr marL="538163" indent="-214313">
              <a:buFont typeface="Arial" panose="020B0604020202020204" pitchFamily="34" charset="0"/>
              <a:buChar char="•"/>
              <a:tabLst>
                <a:tab pos="269081" algn="l"/>
              </a:tabLst>
              <a:defRPr sz="1050">
                <a:solidFill>
                  <a:schemeClr val="tx1"/>
                </a:solidFill>
              </a:defRPr>
            </a:lvl2pPr>
            <a:lvl3pPr marL="739379" indent="-269081">
              <a:buFont typeface="Arial" panose="020B0604020202020204" pitchFamily="34" charset="0"/>
              <a:buChar char="•"/>
              <a:tabLst>
                <a:tab pos="269081" algn="l"/>
              </a:tabLst>
              <a:defRPr sz="1050" b="0">
                <a:solidFill>
                  <a:schemeClr val="tx1"/>
                </a:solidFill>
              </a:defRPr>
            </a:lvl3pPr>
            <a:lvl4pPr marL="941785" indent="-269081">
              <a:tabLst>
                <a:tab pos="201216" algn="l"/>
              </a:tabLst>
              <a:defRPr sz="1050" b="0">
                <a:solidFill>
                  <a:schemeClr val="tx1"/>
                </a:solidFill>
              </a:defRPr>
            </a:lvl4pPr>
            <a:lvl5pPr marL="269081" indent="-269081">
              <a:tabLst>
                <a:tab pos="269081" algn="l"/>
              </a:tabLst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ext</a:t>
            </a:r>
            <a:r>
              <a:rPr lang="fi-FI" dirty="0"/>
              <a:t> </a:t>
            </a:r>
            <a:r>
              <a:rPr lang="fi-FI" dirty="0" err="1"/>
              <a:t>styles</a:t>
            </a:r>
            <a:endParaRPr lang="fi-FI" dirty="0"/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</a:t>
            </a:r>
            <a:r>
              <a:rPr lang="fi-FI" dirty="0" err="1"/>
              <a:t>level</a:t>
            </a:r>
            <a:endParaRPr lang="fi-FI" dirty="0"/>
          </a:p>
          <a:p>
            <a:pPr lvl="3"/>
            <a:r>
              <a:rPr lang="fi-FI" dirty="0" err="1"/>
              <a:t>Four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98473584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3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61E4BDAF-34B7-4244-A21A-1B4987C551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431293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8" imgH="288" progId="TCLayout.ActiveDocument.1">
                  <p:embed/>
                </p:oleObj>
              </mc:Choice>
              <mc:Fallback>
                <p:oleObj name="think-cell Slide" r:id="rId4" imgW="288" imgH="288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61E4BDAF-34B7-4244-A21A-1B4987C55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003D4688-7EA2-4634-A456-D69C3FBD87C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45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Freeform 11"/>
          <p:cNvSpPr>
            <a:spLocks noEditPoints="1"/>
          </p:cNvSpPr>
          <p:nvPr userDrawn="1"/>
        </p:nvSpPr>
        <p:spPr bwMode="auto">
          <a:xfrm>
            <a:off x="0" y="111126"/>
            <a:ext cx="4751388" cy="4927600"/>
          </a:xfrm>
          <a:custGeom>
            <a:avLst/>
            <a:gdLst>
              <a:gd name="T0" fmla="*/ 45 w 2993"/>
              <a:gd name="T1" fmla="*/ 67 h 3104"/>
              <a:gd name="T2" fmla="*/ 2948 w 2993"/>
              <a:gd name="T3" fmla="*/ 1243 h 3104"/>
              <a:gd name="T4" fmla="*/ 2948 w 2993"/>
              <a:gd name="T5" fmla="*/ 1861 h 3104"/>
              <a:gd name="T6" fmla="*/ 45 w 2993"/>
              <a:gd name="T7" fmla="*/ 3038 h 3104"/>
              <a:gd name="T8" fmla="*/ 45 w 2993"/>
              <a:gd name="T9" fmla="*/ 2458 h 3104"/>
              <a:gd name="T10" fmla="*/ 2174 w 2993"/>
              <a:gd name="T11" fmla="*/ 1594 h 3104"/>
              <a:gd name="T12" fmla="*/ 2278 w 2993"/>
              <a:gd name="T13" fmla="*/ 1554 h 3104"/>
              <a:gd name="T14" fmla="*/ 2174 w 2993"/>
              <a:gd name="T15" fmla="*/ 1511 h 3104"/>
              <a:gd name="T16" fmla="*/ 45 w 2993"/>
              <a:gd name="T17" fmla="*/ 647 h 3104"/>
              <a:gd name="T18" fmla="*/ 45 w 2993"/>
              <a:gd name="T19" fmla="*/ 67 h 3104"/>
              <a:gd name="T20" fmla="*/ 0 w 2993"/>
              <a:gd name="T21" fmla="*/ 0 h 3104"/>
              <a:gd name="T22" fmla="*/ 0 w 2993"/>
              <a:gd name="T23" fmla="*/ 678 h 3104"/>
              <a:gd name="T24" fmla="*/ 2157 w 2993"/>
              <a:gd name="T25" fmla="*/ 1554 h 3104"/>
              <a:gd name="T26" fmla="*/ 0 w 2993"/>
              <a:gd name="T27" fmla="*/ 2427 h 3104"/>
              <a:gd name="T28" fmla="*/ 0 w 2993"/>
              <a:gd name="T29" fmla="*/ 3104 h 3104"/>
              <a:gd name="T30" fmla="*/ 2993 w 2993"/>
              <a:gd name="T31" fmla="*/ 1892 h 3104"/>
              <a:gd name="T32" fmla="*/ 2993 w 2993"/>
              <a:gd name="T33" fmla="*/ 1213 h 3104"/>
              <a:gd name="T34" fmla="*/ 0 w 2993"/>
              <a:gd name="T35" fmla="*/ 0 h 3104"/>
              <a:gd name="T36" fmla="*/ 0 w 2993"/>
              <a:gd name="T37" fmla="*/ 0 h 3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993" h="3104">
                <a:moveTo>
                  <a:pt x="45" y="67"/>
                </a:moveTo>
                <a:lnTo>
                  <a:pt x="2948" y="1243"/>
                </a:lnTo>
                <a:lnTo>
                  <a:pt x="2948" y="1861"/>
                </a:lnTo>
                <a:lnTo>
                  <a:pt x="45" y="3038"/>
                </a:lnTo>
                <a:lnTo>
                  <a:pt x="45" y="2458"/>
                </a:lnTo>
                <a:lnTo>
                  <a:pt x="2174" y="1594"/>
                </a:lnTo>
                <a:lnTo>
                  <a:pt x="2278" y="1554"/>
                </a:lnTo>
                <a:lnTo>
                  <a:pt x="2174" y="1511"/>
                </a:lnTo>
                <a:lnTo>
                  <a:pt x="45" y="647"/>
                </a:lnTo>
                <a:lnTo>
                  <a:pt x="45" y="67"/>
                </a:lnTo>
                <a:moveTo>
                  <a:pt x="0" y="0"/>
                </a:moveTo>
                <a:lnTo>
                  <a:pt x="0" y="678"/>
                </a:lnTo>
                <a:lnTo>
                  <a:pt x="2157" y="1554"/>
                </a:lnTo>
                <a:lnTo>
                  <a:pt x="0" y="2427"/>
                </a:lnTo>
                <a:lnTo>
                  <a:pt x="0" y="3104"/>
                </a:lnTo>
                <a:lnTo>
                  <a:pt x="2993" y="1892"/>
                </a:lnTo>
                <a:lnTo>
                  <a:pt x="2993" y="1213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 sz="1800" dirty="0"/>
          </a:p>
        </p:txBody>
      </p:sp>
      <p:pic>
        <p:nvPicPr>
          <p:cNvPr id="2" name="GTS_Technology_DIMENSIONAL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9" name="GTS_Technology_KEYLINE_darkBG" hidden="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4" name="GTS_Technology_KEYLINE_lightBG" hidden="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7" name="GTS_Technology_GRADIENT_darkBG" hidden="1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3" name="GTS_Technology_GRADIENT_lightBG" hidden="1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98" name="Acc_TechnologyBLACK" hidden="1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49" y="245745"/>
            <a:ext cx="2571743" cy="448221"/>
          </a:xfrm>
          <a:prstGeom prst="rect">
            <a:avLst/>
          </a:prstGeom>
        </p:spPr>
      </p:pic>
      <p:pic>
        <p:nvPicPr>
          <p:cNvPr id="99" name="Acc_TechnologyWHITE" hidden="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50" y="237173"/>
            <a:ext cx="2571967" cy="462048"/>
          </a:xfrm>
          <a:prstGeom prst="rect">
            <a:avLst/>
          </a:prstGeom>
        </p:spPr>
      </p:pic>
      <p:pic>
        <p:nvPicPr>
          <p:cNvPr id="13" name="GTS_Strategy_GRADIENT_darkBG" hidden="1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0" name="GTS_Strategy_GRADIENT_lightBG" hidden="1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2" name="GTS_Strategy_DIMENSIONAL_darkBG" hidden="1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5" name="GTS_Strategy_DIMENSIONAL_lightBG" hidden="1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01" name="Acc_StrategyWHITE" hidden="1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7414" y="264363"/>
            <a:ext cx="2219990" cy="400856"/>
          </a:xfrm>
          <a:prstGeom prst="rect">
            <a:avLst/>
          </a:prstGeom>
        </p:spPr>
      </p:pic>
      <p:pic>
        <p:nvPicPr>
          <p:cNvPr id="20" name="GTS_Operations_KEYLINE_darkBG" hidden="1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7" name="GTS_Operations_KEYLINE_lightBG" hidden="1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9" name="GTS_Operations_GRADIENT_darkBG" hidden="1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6" name="GTS_Operations_GRADIENT_lightBG" hidden="1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5" name="GTS_Operations_DIMENSIONAL" hidden="1"/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02" name="Acc_OperationsWHITE" hidden="1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1203" y="248023"/>
            <a:ext cx="2467235" cy="445500"/>
          </a:xfrm>
          <a:prstGeom prst="rect">
            <a:avLst/>
          </a:prstGeom>
        </p:spPr>
      </p:pic>
      <p:pic>
        <p:nvPicPr>
          <p:cNvPr id="105" name="Acc_OperationsBLACK" hidden="1"/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2154" y="242888"/>
            <a:ext cx="2459804" cy="444158"/>
          </a:xfrm>
          <a:prstGeom prst="rect">
            <a:avLst/>
          </a:prstGeom>
        </p:spPr>
      </p:pic>
      <p:pic>
        <p:nvPicPr>
          <p:cNvPr id="106" name="Acc_MobilityBLACK" hidden="1"/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7414" y="401829"/>
            <a:ext cx="2571656" cy="395759"/>
          </a:xfrm>
          <a:prstGeom prst="rect">
            <a:avLst/>
          </a:prstGeom>
        </p:spPr>
      </p:pic>
      <p:pic>
        <p:nvPicPr>
          <p:cNvPr id="107" name="Acc_MobilityWHITE" hidden="1"/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7414" y="401828"/>
            <a:ext cx="2574401" cy="396900"/>
          </a:xfrm>
          <a:prstGeom prst="rect">
            <a:avLst/>
          </a:prstGeom>
        </p:spPr>
      </p:pic>
      <p:pic>
        <p:nvPicPr>
          <p:cNvPr id="108" name="Acc_InteractiveBLACK" hidden="1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7415" y="404497"/>
            <a:ext cx="2581436" cy="389240"/>
          </a:xfrm>
          <a:prstGeom prst="rect">
            <a:avLst/>
          </a:prstGeom>
        </p:spPr>
      </p:pic>
      <p:pic>
        <p:nvPicPr>
          <p:cNvPr id="109" name="Acc_InteractiveWHITE" hidden="1"/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7415" y="404498"/>
            <a:ext cx="2578836" cy="388800"/>
          </a:xfrm>
          <a:prstGeom prst="rect">
            <a:avLst/>
          </a:prstGeom>
        </p:spPr>
      </p:pic>
      <p:pic>
        <p:nvPicPr>
          <p:cNvPr id="110" name="Acc_AnalyticsBLACK" hidden="1"/>
          <p:cNvPicPr>
            <a:picLocks noChangeAspect="1"/>
          </p:cNvPicPr>
          <p:nvPr userDrawn="1"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49" y="402275"/>
            <a:ext cx="2570702" cy="396453"/>
          </a:xfrm>
          <a:prstGeom prst="rect">
            <a:avLst/>
          </a:prstGeom>
        </p:spPr>
      </p:pic>
      <p:pic>
        <p:nvPicPr>
          <p:cNvPr id="111" name="Acc_AnalyticsWHITE" hidden="1"/>
          <p:cNvPicPr>
            <a:picLocks noChangeAspect="1"/>
          </p:cNvPicPr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50" y="402275"/>
            <a:ext cx="2581436" cy="396900"/>
          </a:xfrm>
          <a:prstGeom prst="rect">
            <a:avLst/>
          </a:prstGeom>
        </p:spPr>
      </p:pic>
      <p:pic>
        <p:nvPicPr>
          <p:cNvPr id="24" name="GTS_Digital_KEYLINE_darkBG" hidden="1"/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3" name="GTS_Digital_KEYLINE_lightBG" hidden="1"/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5" name="GTS_Digital_GRADIENT_darkBG" hidden="1"/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2" name="GTS_Digital_GRADIENT_lightBG" hidden="1"/>
          <p:cNvPicPr>
            <a:picLocks noChangeAspect="1"/>
          </p:cNvPicPr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6" name="GTS_Digital_DIMENSIONAL_darkBG" hidden="1"/>
          <p:cNvPicPr>
            <a:picLocks noChangeAspect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1" name="GTS_Digital_DIMENSIONAL_lightBG" hidden="1"/>
          <p:cNvPicPr>
            <a:picLocks noChangeAspect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12" name="Acc_DigitalWHITE" hidden="1"/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5012" y="281954"/>
            <a:ext cx="1935692" cy="374979"/>
          </a:xfrm>
          <a:prstGeom prst="rect">
            <a:avLst/>
          </a:prstGeom>
        </p:spPr>
      </p:pic>
      <p:pic>
        <p:nvPicPr>
          <p:cNvPr id="113" name="Acc_DigitalBLACK" hidden="1"/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5012" y="282247"/>
            <a:ext cx="1933787" cy="374732"/>
          </a:xfrm>
          <a:prstGeom prst="rect">
            <a:avLst/>
          </a:prstGeom>
        </p:spPr>
      </p:pic>
      <p:pic>
        <p:nvPicPr>
          <p:cNvPr id="35" name="GTS_Consulting_KEYLINE_darkBG" hidden="1"/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30" name="GTS_Consulting_KEYLINE_lightBG" hidden="1"/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34" name="GTS_Consulting_GRADIENT_darkBG" hidden="1"/>
          <p:cNvPicPr>
            <a:picLocks noChangeAspect="1"/>
          </p:cNvPicPr>
          <p:nvPr userDrawn="1"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9" name="GTS_Consulting_GRADIENT_lightBG" hidden="1"/>
          <p:cNvPicPr>
            <a:picLocks noChangeAspect="1"/>
          </p:cNvPicPr>
          <p:nvPr userDrawn="1"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8" name="GTS_Consulting_DIMENSIONAL" hidden="1"/>
          <p:cNvPicPr>
            <a:picLocks noChangeAspect="1"/>
          </p:cNvPicPr>
          <p:nvPr userDrawn="1"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14" name="Acc_ConsultingWHITE" hidden="1"/>
          <p:cNvPicPr>
            <a:picLocks noChangeAspect="1"/>
          </p:cNvPicPr>
          <p:nvPr userDrawn="1"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5012" y="252563"/>
            <a:ext cx="2419160" cy="434123"/>
          </a:xfrm>
          <a:prstGeom prst="rect">
            <a:avLst/>
          </a:prstGeom>
        </p:spPr>
      </p:pic>
      <p:pic>
        <p:nvPicPr>
          <p:cNvPr id="115" name="Acc_ConsultingBLACK" hidden="1"/>
          <p:cNvPicPr>
            <a:picLocks noChangeAspect="1"/>
          </p:cNvPicPr>
          <p:nvPr userDrawn="1"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5012" y="276584"/>
            <a:ext cx="2419160" cy="380366"/>
          </a:xfrm>
          <a:prstGeom prst="rect">
            <a:avLst/>
          </a:prstGeom>
        </p:spPr>
      </p:pic>
      <p:pic>
        <p:nvPicPr>
          <p:cNvPr id="52" name="GTS_Master_GRADIENT_09" hidden="1"/>
          <p:cNvPicPr>
            <a:picLocks noChangeAspect="1"/>
          </p:cNvPicPr>
          <p:nvPr userDrawn="1"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3" name="GTS_Master_GRADIENT_08" hidden="1"/>
          <p:cNvPicPr>
            <a:picLocks noChangeAspect="1"/>
          </p:cNvPicPr>
          <p:nvPr userDrawn="1"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4" name="GTS_Master_GRADIENT_07" hidden="1"/>
          <p:cNvPicPr>
            <a:picLocks noChangeAspect="1"/>
          </p:cNvPicPr>
          <p:nvPr userDrawn="1"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5" name="GTS_Master_GRADIENT_06" hidden="1"/>
          <p:cNvPicPr>
            <a:picLocks noChangeAspect="1"/>
          </p:cNvPicPr>
          <p:nvPr userDrawn="1"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6" name="GTS_Master_DIMENSIONAL_08" hidden="1"/>
          <p:cNvPicPr>
            <a:picLocks noChangeAspect="1"/>
          </p:cNvPicPr>
          <p:nvPr userDrawn="1"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7" name="GTS_Master_DIMENSIONAL_07" hidden="1"/>
          <p:cNvPicPr>
            <a:picLocks noChangeAspect="1"/>
          </p:cNvPicPr>
          <p:nvPr userDrawn="1"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8" name="GTS_Master_DIMENSIONAL_04" hidden="1"/>
          <p:cNvPicPr>
            <a:picLocks noChangeAspect="1"/>
          </p:cNvPicPr>
          <p:nvPr userDrawn="1"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9" name="GTS_Master_TWO-TONE_05" hidden="1"/>
          <p:cNvPicPr>
            <a:picLocks noChangeAspect="1"/>
          </p:cNvPicPr>
          <p:nvPr userDrawn="1"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60" name="GTS_Master_TWO-TONE_04" hidden="1"/>
          <p:cNvPicPr>
            <a:picLocks noChangeAspect="1"/>
          </p:cNvPicPr>
          <p:nvPr userDrawn="1"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61" name="GTS_Master_TWO-TONE_03" hidden="1"/>
          <p:cNvPicPr>
            <a:picLocks noChangeAspect="1"/>
          </p:cNvPicPr>
          <p:nvPr userDrawn="1"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62" name="GTS_Master_TWO-TONE_02" hidden="1"/>
          <p:cNvPicPr>
            <a:picLocks noChangeAspect="1"/>
          </p:cNvPicPr>
          <p:nvPr userDrawn="1"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63" name="GTS_Master_TWO-TONE_01" hidden="1"/>
          <p:cNvPicPr>
            <a:picLocks noChangeAspect="1"/>
          </p:cNvPicPr>
          <p:nvPr userDrawn="1"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grpSp>
        <p:nvGrpSpPr>
          <p:cNvPr id="46" name="Acc_MasterWHITE" hidden="1"/>
          <p:cNvGrpSpPr>
            <a:grpSpLocks noChangeAspect="1"/>
          </p:cNvGrpSpPr>
          <p:nvPr userDrawn="1"/>
        </p:nvGrpSpPr>
        <p:grpSpPr>
          <a:xfrm>
            <a:off x="5813243" y="283293"/>
            <a:ext cx="1248156" cy="335021"/>
            <a:chOff x="9638475" y="1219200"/>
            <a:chExt cx="1389888" cy="373063"/>
          </a:xfrm>
        </p:grpSpPr>
        <p:pic>
          <p:nvPicPr>
            <p:cNvPr id="47" name="Picture 46"/>
            <p:cNvPicPr>
              <a:picLocks noChangeAspect="1"/>
            </p:cNvPicPr>
            <p:nvPr/>
          </p:nvPicPr>
          <p:blipFill>
            <a:blip r:embed="rId5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38475" y="1372165"/>
              <a:ext cx="1389888" cy="220098"/>
            </a:xfrm>
            <a:prstGeom prst="rect">
              <a:avLst/>
            </a:prstGeom>
          </p:spPr>
        </p:pic>
        <p:sp>
          <p:nvSpPr>
            <p:cNvPr id="48" name="Freeform 5"/>
            <p:cNvSpPr>
              <a:spLocks/>
            </p:cNvSpPr>
            <p:nvPr/>
          </p:nvSpPr>
          <p:spPr bwMode="auto">
            <a:xfrm>
              <a:off x="10448925" y="1219200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005" dirty="0"/>
            </a:p>
          </p:txBody>
        </p:sp>
      </p:grpSp>
      <p:grpSp>
        <p:nvGrpSpPr>
          <p:cNvPr id="49" name="Acc_MasterBLACK" hidden="1"/>
          <p:cNvGrpSpPr>
            <a:grpSpLocks noChangeAspect="1"/>
          </p:cNvGrpSpPr>
          <p:nvPr userDrawn="1"/>
        </p:nvGrpSpPr>
        <p:grpSpPr>
          <a:xfrm>
            <a:off x="5813243" y="283293"/>
            <a:ext cx="1248156" cy="335021"/>
            <a:chOff x="9563100" y="1673029"/>
            <a:chExt cx="1389888" cy="373063"/>
          </a:xfrm>
        </p:grpSpPr>
        <p:pic>
          <p:nvPicPr>
            <p:cNvPr id="50" name="Picture 49"/>
            <p:cNvPicPr>
              <a:picLocks noChangeAspect="1"/>
            </p:cNvPicPr>
            <p:nvPr/>
          </p:nvPicPr>
          <p:blipFill>
            <a:blip r:embed="rId5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63100" y="1825994"/>
              <a:ext cx="1389888" cy="220098"/>
            </a:xfrm>
            <a:prstGeom prst="rect">
              <a:avLst/>
            </a:prstGeom>
          </p:spPr>
        </p:pic>
        <p:sp>
          <p:nvSpPr>
            <p:cNvPr id="51" name="Freeform 5"/>
            <p:cNvSpPr>
              <a:spLocks/>
            </p:cNvSpPr>
            <p:nvPr/>
          </p:nvSpPr>
          <p:spPr bwMode="auto">
            <a:xfrm>
              <a:off x="10373550" y="1673029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rgbClr val="70E6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005" dirty="0"/>
            </a:p>
          </p:txBody>
        </p:sp>
      </p:grpSp>
      <p:sp>
        <p:nvSpPr>
          <p:cNvPr id="6" name="SubTitle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290828" y="3805392"/>
            <a:ext cx="2892247" cy="780896"/>
          </a:xfrm>
        </p:spPr>
        <p:txBody>
          <a:bodyPr anchor="b"/>
          <a:lstStyle>
            <a:lvl1pPr marL="0" indent="0">
              <a:lnSpc>
                <a:spcPct val="80000"/>
              </a:lnSpc>
              <a:buNone/>
              <a:defRPr sz="1500" b="0" i="0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fi-FI" dirty="0"/>
              <a:t>SUBTITLE LINE</a:t>
            </a:r>
            <a:br>
              <a:rPr lang="fi-FI" dirty="0"/>
            </a:br>
            <a:r>
              <a:rPr lang="fi-FI" dirty="0"/>
              <a:t>SECOND LINE</a:t>
            </a:r>
          </a:p>
        </p:txBody>
      </p:sp>
      <p:sp>
        <p:nvSpPr>
          <p:cNvPr id="8" name="MasterTitle"/>
          <p:cNvSpPr>
            <a:spLocks noGrp="1"/>
          </p:cNvSpPr>
          <p:nvPr userDrawn="1">
            <p:ph type="title" hasCustomPrompt="1"/>
          </p:nvPr>
        </p:nvSpPr>
        <p:spPr>
          <a:xfrm>
            <a:off x="5287018" y="1388745"/>
            <a:ext cx="3524842" cy="2377427"/>
          </a:xfrm>
        </p:spPr>
        <p:txBody>
          <a:bodyPr tIns="252000" anchor="ctr"/>
          <a:lstStyle>
            <a:lvl1pPr>
              <a:lnSpc>
                <a:spcPct val="70000"/>
              </a:lnSpc>
              <a:defRPr sz="4500" spc="-113" baseline="0">
                <a:solidFill>
                  <a:schemeClr val="tx1"/>
                </a:solidFill>
              </a:defRPr>
            </a:lvl1pPr>
          </a:lstStyle>
          <a:p>
            <a:r>
              <a:rPr lang="fi-FI" dirty="0" err="1"/>
              <a:t>Click</a:t>
            </a:r>
            <a:r>
              <a:rPr lang="fi-FI" dirty="0"/>
              <a:t> </a:t>
            </a:r>
            <a:br>
              <a:rPr lang="fi-FI" dirty="0"/>
            </a:br>
            <a:r>
              <a:rPr lang="fi-FI" dirty="0"/>
              <a:t>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itl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9177554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320">
          <p15:clr>
            <a:srgbClr val="5ACBF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godia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Kuva 2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072270" y="1966957"/>
            <a:ext cx="4730093" cy="1172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068013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turkoosi">
    <p:bg>
      <p:bgPr>
        <a:solidFill>
          <a:srgbClr val="0ACF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E114E9B-AF34-462B-9107-FB4A4FE20955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3052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05528484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petroli">
    <p:bg>
      <p:bgPr>
        <a:solidFill>
          <a:srgbClr val="0F78B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7D0C29F-D373-4791-88C9-86C29F06AD83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747701072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petroli">
    <p:bg>
      <p:bgPr>
        <a:solidFill>
          <a:srgbClr val="0F78B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C870B0A-5FAA-48CC-9422-68AAC5A5CADB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11" name="Tekstin paikkamerkki 2"/>
          <p:cNvSpPr>
            <a:spLocks noGrp="1"/>
          </p:cNvSpPr>
          <p:nvPr>
            <p:ph idx="21"/>
          </p:nvPr>
        </p:nvSpPr>
        <p:spPr>
          <a:xfrm>
            <a:off x="1072800" y="1584884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12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47428192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sininen">
    <p:bg>
      <p:bgPr>
        <a:solidFill>
          <a:srgbClr val="141F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3A50D0A-99B9-48FE-8B08-047EE10ADBDA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062311651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sininen">
    <p:bg>
      <p:bgPr>
        <a:solidFill>
          <a:srgbClr val="141F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EF2A4B-BD6C-442B-B37A-933F3A2F5101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781393815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violetti">
    <p:bg>
      <p:bgPr>
        <a:solidFill>
          <a:srgbClr val="8A0FA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A3CBEF-2865-4434-A020-1FAA7DCEF42D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30501944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image" Target="../media/image4.emf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34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33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äivämäärän paikkamerkki 3"/>
          <p:cNvSpPr>
            <a:spLocks noGrp="1"/>
          </p:cNvSpPr>
          <p:nvPr>
            <p:ph type="dt" sz="half" idx="2"/>
          </p:nvPr>
        </p:nvSpPr>
        <p:spPr>
          <a:xfrm>
            <a:off x="282027" y="4728047"/>
            <a:ext cx="919711" cy="163042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7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1B16F53B-7158-4458-A0D4-1436C88C6842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8" name="Alatunnisteen paikkamerkki 4"/>
          <p:cNvSpPr>
            <a:spLocks noGrp="1"/>
          </p:cNvSpPr>
          <p:nvPr>
            <p:ph type="ftr" sz="quarter" idx="3"/>
          </p:nvPr>
        </p:nvSpPr>
        <p:spPr>
          <a:xfrm>
            <a:off x="1111307" y="4728047"/>
            <a:ext cx="1296094" cy="163042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7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fi-FI" dirty="0"/>
              <a:t>Teknologiateollisuus</a:t>
            </a:r>
          </a:p>
        </p:txBody>
      </p:sp>
      <p:sp>
        <p:nvSpPr>
          <p:cNvPr id="26" name="Tekstin paikkamerkki 3"/>
          <p:cNvSpPr>
            <a:spLocks noGrp="1"/>
          </p:cNvSpPr>
          <p:nvPr>
            <p:ph type="body" idx="1"/>
          </p:nvPr>
        </p:nvSpPr>
        <p:spPr>
          <a:xfrm>
            <a:off x="1072801" y="1583532"/>
            <a:ext cx="7171199" cy="28932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</p:txBody>
      </p:sp>
      <p:sp>
        <p:nvSpPr>
          <p:cNvPr id="27" name="Otsikon paikkamerkki 2"/>
          <p:cNvSpPr>
            <a:spLocks noGrp="1"/>
          </p:cNvSpPr>
          <p:nvPr>
            <p:ph type="title"/>
          </p:nvPr>
        </p:nvSpPr>
        <p:spPr>
          <a:xfrm>
            <a:off x="1072801" y="1102950"/>
            <a:ext cx="7171199" cy="36718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fi-FI" dirty="0"/>
              <a:t>Muokkaa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3" name="Dian numeron paikkamerkki 1"/>
          <p:cNvSpPr>
            <a:spLocks noGrp="1"/>
          </p:cNvSpPr>
          <p:nvPr>
            <p:ph type="sldNum" sz="quarter" idx="4"/>
          </p:nvPr>
        </p:nvSpPr>
        <p:spPr>
          <a:xfrm>
            <a:off x="8005977" y="4729163"/>
            <a:ext cx="863990" cy="16668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729942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01" r:id="rId2"/>
    <p:sldLayoutId id="2147483664" r:id="rId3"/>
    <p:sldLayoutId id="2147483679" r:id="rId4"/>
    <p:sldLayoutId id="2147483665" r:id="rId5"/>
    <p:sldLayoutId id="2147483681" r:id="rId6"/>
    <p:sldLayoutId id="2147483666" r:id="rId7"/>
    <p:sldLayoutId id="2147483682" r:id="rId8"/>
    <p:sldLayoutId id="2147483667" r:id="rId9"/>
    <p:sldLayoutId id="2147483683" r:id="rId10"/>
    <p:sldLayoutId id="2147483668" r:id="rId11"/>
    <p:sldLayoutId id="2147483684" r:id="rId12"/>
    <p:sldLayoutId id="2147483669" r:id="rId13"/>
    <p:sldLayoutId id="2147483685" r:id="rId14"/>
    <p:sldLayoutId id="2147483670" r:id="rId15"/>
    <p:sldLayoutId id="2147483686" r:id="rId16"/>
    <p:sldLayoutId id="2147483671" r:id="rId17"/>
    <p:sldLayoutId id="2147483687" r:id="rId18"/>
    <p:sldLayoutId id="2147483702" r:id="rId19"/>
    <p:sldLayoutId id="2147483704" r:id="rId20"/>
    <p:sldLayoutId id="2147483680" r:id="rId21"/>
    <p:sldLayoutId id="2147483674" r:id="rId22"/>
    <p:sldLayoutId id="2147483691" r:id="rId23"/>
    <p:sldLayoutId id="2147483700" r:id="rId24"/>
    <p:sldLayoutId id="2147483696" r:id="rId25"/>
    <p:sldLayoutId id="2147483673" r:id="rId26"/>
    <p:sldLayoutId id="2147483703" r:id="rId27"/>
    <p:sldLayoutId id="2147483707" r:id="rId28"/>
    <p:sldLayoutId id="2147483708" r:id="rId29"/>
  </p:sldLayoutIdLst>
  <p:transition spd="med">
    <p:fade/>
  </p:transition>
  <p:hf hdr="0"/>
  <p:txStyles>
    <p:titleStyle>
      <a:lvl1pPr marL="14400" algn="l" defTabSz="806052" rtl="0" eaLnBrk="1" latinLnBrk="0" hangingPunct="1">
        <a:lnSpc>
          <a:spcPts val="2700"/>
        </a:lnSpc>
        <a:spcBef>
          <a:spcPts val="0"/>
        </a:spcBef>
        <a:spcAft>
          <a:spcPts val="0"/>
        </a:spcAft>
        <a:buNone/>
        <a:defRPr sz="2200" b="1" kern="1200" spc="-35" baseline="0">
          <a:solidFill>
            <a:srgbClr val="000000"/>
          </a:solidFill>
          <a:latin typeface="+mj-lt"/>
          <a:ea typeface="Adobe Fan Heiti Std B" panose="020B0700000000000000" pitchFamily="34" charset="-128"/>
          <a:cs typeface="Adobe Hebrew" panose="02040503050201020203" pitchFamily="18" charset="-79"/>
        </a:defRPr>
      </a:lvl1pPr>
    </p:titleStyle>
    <p:bodyStyle>
      <a:lvl1pPr marL="234000" indent="-212400" algn="l" defTabSz="806052" rtl="0" eaLnBrk="1" latinLnBrk="0" hangingPunct="1">
        <a:lnSpc>
          <a:spcPts val="2000"/>
        </a:lnSpc>
        <a:spcBef>
          <a:spcPts val="400"/>
        </a:spcBef>
        <a:spcAft>
          <a:spcPts val="300"/>
        </a:spcAft>
        <a:buClrTx/>
        <a:buSzPct val="125000"/>
        <a:buFont typeface="Arial" panose="020B0604020202020204" pitchFamily="34" charset="0"/>
        <a:buChar char="•"/>
        <a:defRPr sz="1600" kern="1200" spc="-35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29732" indent="-158400" algn="l" defTabSz="806052" rtl="0" eaLnBrk="1" latinLnBrk="0" hangingPunct="1">
        <a:lnSpc>
          <a:spcPts val="1800"/>
        </a:lnSpc>
        <a:spcBef>
          <a:spcPts val="200"/>
        </a:spcBef>
        <a:spcAft>
          <a:spcPts val="200"/>
        </a:spcAft>
        <a:buClrTx/>
        <a:buSzPct val="125000"/>
        <a:buFont typeface="Arial" pitchFamily="34" charset="0"/>
        <a:buChar char="–"/>
        <a:defRPr sz="1300" kern="1200" spc="-35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944591" indent="-158400" algn="l" defTabSz="806052" rtl="0" eaLnBrk="1" latinLnBrk="0" hangingPunct="1">
        <a:lnSpc>
          <a:spcPts val="1800"/>
        </a:lnSpc>
        <a:spcBef>
          <a:spcPts val="200"/>
        </a:spcBef>
        <a:spcAft>
          <a:spcPts val="200"/>
        </a:spcAft>
        <a:buClrTx/>
        <a:buSzPct val="125000"/>
        <a:buFont typeface="Arial" panose="020B0604020202020204" pitchFamily="34" charset="0"/>
        <a:buChar char="•"/>
        <a:defRPr sz="1050" kern="1200" spc="-35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267851" indent="-158400" algn="l" defTabSz="806052" rtl="0" eaLnBrk="1" latinLnBrk="0" hangingPunct="1">
        <a:lnSpc>
          <a:spcPts val="1800"/>
        </a:lnSpc>
        <a:spcBef>
          <a:spcPts val="200"/>
        </a:spcBef>
        <a:spcAft>
          <a:spcPts val="200"/>
        </a:spcAft>
        <a:buClrTx/>
        <a:buSzPct val="125000"/>
        <a:buFont typeface="Arial" pitchFamily="34" charset="0"/>
        <a:buChar char="–"/>
        <a:defRPr sz="1050" kern="1200" spc="-35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582718" indent="-158400" algn="l" defTabSz="806052" rtl="0" eaLnBrk="1" latinLnBrk="0" hangingPunct="1">
        <a:lnSpc>
          <a:spcPts val="2000"/>
        </a:lnSpc>
        <a:spcBef>
          <a:spcPts val="400"/>
        </a:spcBef>
        <a:spcAft>
          <a:spcPts val="300"/>
        </a:spcAft>
        <a:buClrTx/>
        <a:buSzPct val="125000"/>
        <a:buFont typeface="Arial" panose="020B0604020202020204" pitchFamily="34" charset="0"/>
        <a:buChar char="•"/>
        <a:defRPr sz="1000" kern="1200" spc="-35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216640" indent="-201515" algn="l" defTabSz="806052" rtl="0" eaLnBrk="1" latinLnBrk="0" hangingPunct="1">
        <a:spcBef>
          <a:spcPct val="20000"/>
        </a:spcBef>
        <a:buFont typeface="Arial" pitchFamily="34" charset="0"/>
        <a:buChar char="•"/>
        <a:defRPr sz="1856" kern="1200">
          <a:solidFill>
            <a:schemeClr val="tx1"/>
          </a:solidFill>
          <a:latin typeface="+mn-lt"/>
          <a:ea typeface="+mn-ea"/>
          <a:cs typeface="+mn-cs"/>
        </a:defRPr>
      </a:lvl6pPr>
      <a:lvl7pPr marL="2619666" indent="-201515" algn="l" defTabSz="806052" rtl="0" eaLnBrk="1" latinLnBrk="0" hangingPunct="1">
        <a:spcBef>
          <a:spcPct val="20000"/>
        </a:spcBef>
        <a:buFont typeface="Arial" pitchFamily="34" charset="0"/>
        <a:buChar char="•"/>
        <a:defRPr sz="1856" kern="1200">
          <a:solidFill>
            <a:schemeClr val="tx1"/>
          </a:solidFill>
          <a:latin typeface="+mn-lt"/>
          <a:ea typeface="+mn-ea"/>
          <a:cs typeface="+mn-cs"/>
        </a:defRPr>
      </a:lvl7pPr>
      <a:lvl8pPr marL="3022694" indent="-201515" algn="l" defTabSz="806052" rtl="0" eaLnBrk="1" latinLnBrk="0" hangingPunct="1">
        <a:spcBef>
          <a:spcPct val="20000"/>
        </a:spcBef>
        <a:buFont typeface="Arial" pitchFamily="34" charset="0"/>
        <a:buChar char="•"/>
        <a:defRPr sz="1856" kern="1200">
          <a:solidFill>
            <a:schemeClr val="tx1"/>
          </a:solidFill>
          <a:latin typeface="+mn-lt"/>
          <a:ea typeface="+mn-ea"/>
          <a:cs typeface="+mn-cs"/>
        </a:defRPr>
      </a:lvl8pPr>
      <a:lvl9pPr marL="3425719" indent="-201515" algn="l" defTabSz="806052" rtl="0" eaLnBrk="1" latinLnBrk="0" hangingPunct="1">
        <a:spcBef>
          <a:spcPct val="20000"/>
        </a:spcBef>
        <a:buFont typeface="Arial" pitchFamily="34" charset="0"/>
        <a:buChar char="•"/>
        <a:defRPr sz="185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1pPr>
      <a:lvl2pPr marL="403025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2pPr>
      <a:lvl3pPr marL="806052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3pPr>
      <a:lvl4pPr marL="1209078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4pPr>
      <a:lvl5pPr marL="1612105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5pPr>
      <a:lvl6pPr marL="2015123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6pPr>
      <a:lvl7pPr marL="2418157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7pPr>
      <a:lvl8pPr marL="2821180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8pPr>
      <a:lvl9pPr marL="3224205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0" pos="5520" userDrawn="1">
          <p15:clr>
            <a:srgbClr val="F26B43"/>
          </p15:clr>
        </p15:guide>
        <p15:guide id="22" orient="horz" pos="3062" userDrawn="1">
          <p15:clr>
            <a:srgbClr val="F26B43"/>
          </p15:clr>
        </p15:guide>
        <p15:guide id="23" orient="horz" pos="232" userDrawn="1">
          <p15:clr>
            <a:srgbClr val="F26B43"/>
          </p15:clr>
        </p15:guide>
        <p15:guide id="26" pos="240" userDrawn="1">
          <p15:clr>
            <a:srgbClr val="F26B43"/>
          </p15:clr>
        </p15:guide>
        <p15:guide id="27" pos="75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8104975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16" imgH="216" progId="TCLayout.ActiveDocument.1">
                  <p:embed/>
                </p:oleObj>
              </mc:Choice>
              <mc:Fallback>
                <p:oleObj name="think-cell Slide" r:id="rId11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2999A80-A87B-4C57-8050-86B60043C63C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fi-FI" sz="18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8764" y="114577"/>
            <a:ext cx="8618537" cy="58210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fi-FI" dirty="0"/>
              <a:t>Content </a:t>
            </a:r>
            <a:r>
              <a:rPr lang="fi-FI" dirty="0" err="1"/>
              <a:t>title</a:t>
            </a:r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4465" y="4933765"/>
            <a:ext cx="578213" cy="14421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="1" i="0">
                <a:solidFill>
                  <a:srgbClr val="919191"/>
                </a:solidFill>
                <a:latin typeface="Arial Bold"/>
              </a:defRPr>
            </a:lvl1pPr>
          </a:lstStyle>
          <a:p>
            <a:fld id="{0D558541-60C9-42A2-8392-FF12533A6B7A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931937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5" r:id="rId5"/>
    <p:sldLayoutId id="2147483716" r:id="rId6"/>
    <p:sldLayoutId id="2147483717" r:id="rId7"/>
  </p:sldLayoutIdLst>
  <p:hf hdr="0" ftr="0" dt="0"/>
  <p:txStyles>
    <p:titleStyle>
      <a:lvl1pPr algn="l" defTabSz="1300976" rtl="0" eaLnBrk="1" latinLnBrk="0" hangingPunct="1">
        <a:lnSpc>
          <a:spcPct val="80000"/>
        </a:lnSpc>
        <a:spcBef>
          <a:spcPct val="0"/>
        </a:spcBef>
        <a:buNone/>
        <a:defRPr lang="en-US" sz="1800" b="1" i="0" kern="1200" cap="none" spc="0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1pPr>
    </p:titleStyle>
    <p:bodyStyle>
      <a:lvl1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600" b="1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1pPr>
      <a:lvl2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600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2pPr>
      <a:lvl3pPr marL="144460" indent="-14446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Char char="•"/>
        <a:tabLst/>
        <a:defRPr sz="1600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3pPr>
      <a:lvl4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600" b="1" i="0" kern="1200" cap="none" baseline="0">
          <a:solidFill>
            <a:schemeClr val="tx2"/>
          </a:solidFill>
          <a:latin typeface="+mn-lt"/>
          <a:ea typeface="Arial Black" charset="0"/>
          <a:cs typeface="Arial Black" charset="0"/>
        </a:defRPr>
      </a:lvl4pPr>
      <a:lvl5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600" b="0" i="0" kern="1200" cap="none" baseline="0">
          <a:solidFill>
            <a:schemeClr val="tx2"/>
          </a:solidFill>
          <a:latin typeface="+mn-lt"/>
          <a:ea typeface="Arial Black" charset="0"/>
          <a:cs typeface="Arial Black" charset="0"/>
        </a:defRPr>
      </a:lvl5pPr>
      <a:lvl6pPr marL="171446" indent="-136522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Char char="•"/>
        <a:tabLst/>
        <a:defRPr sz="1600" b="0" i="0" kern="1200" cap="none" baseline="0">
          <a:solidFill>
            <a:schemeClr val="tx2"/>
          </a:solidFill>
          <a:latin typeface="+mn-lt"/>
          <a:ea typeface="Arial Bold" charset="0"/>
          <a:cs typeface="Arial Bold" charset="0"/>
        </a:defRPr>
      </a:lvl6pPr>
      <a:lvl7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400" b="1" i="0" kern="1200" cap="none" baseline="0">
          <a:solidFill>
            <a:schemeClr val="tx1"/>
          </a:solidFill>
          <a:latin typeface="+mn-lt"/>
          <a:ea typeface="Arial Bold" charset="0"/>
          <a:cs typeface="Arial Bold" charset="0"/>
        </a:defRPr>
      </a:lvl7pPr>
      <a:lvl8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400" b="0" i="0" kern="1200" cap="none" baseline="0">
          <a:solidFill>
            <a:schemeClr val="tx1"/>
          </a:solidFill>
          <a:latin typeface="+mn-lt"/>
          <a:ea typeface="Arial Bold" charset="0"/>
          <a:cs typeface="Arial Bold" charset="0"/>
        </a:defRPr>
      </a:lvl8pPr>
      <a:lvl9pPr marL="144460" indent="-14446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Char char="•"/>
        <a:tabLst/>
        <a:defRPr sz="1400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9pPr>
    </p:bodyStyle>
    <p:otherStyle>
      <a:defPPr>
        <a:defRPr lang="en-US"/>
      </a:defPPr>
      <a:lvl1pPr marL="0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50488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300976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51463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601952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252440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902927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553415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203903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96">
          <p15:clr>
            <a:srgbClr val="F26B43"/>
          </p15:clr>
        </p15:guide>
        <p15:guide id="2" pos="2880">
          <p15:clr>
            <a:srgbClr val="F26B43"/>
          </p15:clr>
        </p15:guide>
        <p15:guide id="3" pos="163">
          <p15:clr>
            <a:srgbClr val="F26B43"/>
          </p15:clr>
        </p15:guide>
        <p15:guide id="4" pos="5592">
          <p15:clr>
            <a:srgbClr val="F26B43"/>
          </p15:clr>
        </p15:guide>
        <p15:guide id="5" orient="horz" pos="852">
          <p15:clr>
            <a:srgbClr val="F26B43"/>
          </p15:clr>
        </p15:guide>
        <p15:guide id="7" orient="horz" pos="156">
          <p15:clr>
            <a:srgbClr val="F26B43"/>
          </p15:clr>
        </p15:guide>
        <p15:guide id="8" orient="horz" pos="2868">
          <p15:clr>
            <a:srgbClr val="F26B43"/>
          </p15:clr>
        </p15:guide>
        <p15:guide id="9" orient="horz" pos="1524">
          <p15:clr>
            <a:srgbClr val="F26B43"/>
          </p15:clr>
        </p15:guide>
        <p15:guide id="10" orient="horz" pos="30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62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63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emf"/><Relationship Id="rId2" Type="http://schemas.openxmlformats.org/officeDocument/2006/relationships/oleObject" Target="../embeddings/oleObject10.bin"/><Relationship Id="rId1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emf"/><Relationship Id="rId2" Type="http://schemas.openxmlformats.org/officeDocument/2006/relationships/oleObject" Target="../embeddings/oleObject11.bin"/><Relationship Id="rId1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50FC3B40-AC30-46E2-BCAD-E388935D7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Autofit/>
          </a:bodyPr>
          <a:lstStyle/>
          <a:p>
            <a:r>
              <a:rPr lang="fi-FI" dirty="0"/>
              <a:t>Teknologiateollisuuden Talousnäkymät</a:t>
            </a:r>
          </a:p>
          <a:p>
            <a:r>
              <a:rPr lang="fi-FI" dirty="0"/>
              <a:t>3.5.2022</a:t>
            </a:r>
          </a:p>
          <a:p>
            <a:endParaRPr lang="fi-FI" dirty="0"/>
          </a:p>
          <a:p>
            <a:endParaRPr lang="fi-FI" dirty="0"/>
          </a:p>
          <a:p>
            <a:r>
              <a:rPr lang="fi-FI" dirty="0"/>
              <a:t>Johtaja, pääekonomisti</a:t>
            </a:r>
          </a:p>
          <a:p>
            <a:r>
              <a:rPr lang="fi-FI" dirty="0"/>
              <a:t>Petteri Rautaporras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15E6AE94-550F-4A51-A044-3C71A83A33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1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7AB86DA5-6B79-4508-BE0A-50E52FDDE2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D0C29F-D373-4791-88C9-86C29F06AD83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DBE36005-B164-4A53-BF16-046D6853FB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607371377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F26D6D9D-9502-49B4-B943-3D60C12B85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10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89C90830-A2F7-4E45-AFC7-FBE3F47B91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F0509442-45EE-4410-8716-56E81DDE98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graphicFrame>
        <p:nvGraphicFramePr>
          <p:cNvPr id="10" name="Sisällön paikkamerkki 9">
            <a:extLst>
              <a:ext uri="{FF2B5EF4-FFF2-40B4-BE49-F238E27FC236}">
                <a16:creationId xmlns:a16="http://schemas.microsoft.com/office/drawing/2014/main" id="{8148119C-8720-486B-AD50-E435BB11F8FC}"/>
              </a:ext>
            </a:extLst>
          </p:cNvPr>
          <p:cNvGraphicFramePr>
            <a:graphicFrameLocks noGrp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955461917"/>
              </p:ext>
            </p:extLst>
          </p:nvPr>
        </p:nvGraphicFramePr>
        <p:xfrm>
          <a:off x="381000" y="1103313"/>
          <a:ext cx="8391525" cy="3541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963D92E3-16E8-4D11-AC42-0A09122700F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334682" y="4727574"/>
            <a:ext cx="6341774" cy="364456"/>
          </a:xfrm>
        </p:spPr>
        <p:txBody>
          <a:bodyPr/>
          <a:lstStyle/>
          <a:p>
            <a:r>
              <a:rPr lang="fi-FI" dirty="0"/>
              <a:t>Lähde: jäsenkysely, huhtikuu 2022</a:t>
            </a:r>
          </a:p>
          <a:p>
            <a:r>
              <a:rPr lang="fi-FI" dirty="0"/>
              <a:t>Vastausten lukumäärät per ryhmä:</a:t>
            </a:r>
          </a:p>
          <a:p>
            <a:r>
              <a:rPr lang="fi-FI" dirty="0"/>
              <a:t>Kaikki: 580, Teollisuus: 455, Palvelualat: 125, 0-50: 332, 51-250: 186, 251-500: 32, yli 500: 30.</a:t>
            </a:r>
          </a:p>
        </p:txBody>
      </p:sp>
      <p:sp>
        <p:nvSpPr>
          <p:cNvPr id="23" name="Suorakulmio 22">
            <a:extLst>
              <a:ext uri="{FF2B5EF4-FFF2-40B4-BE49-F238E27FC236}">
                <a16:creationId xmlns:a16="http://schemas.microsoft.com/office/drawing/2014/main" id="{A370E4BA-3CD0-4A77-BFE1-E70C19D2ACDE}"/>
              </a:ext>
            </a:extLst>
          </p:cNvPr>
          <p:cNvSpPr/>
          <p:nvPr/>
        </p:nvSpPr>
        <p:spPr bwMode="auto">
          <a:xfrm>
            <a:off x="1971821" y="1275606"/>
            <a:ext cx="2276179" cy="302433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fi-FI" dirty="0"/>
          </a:p>
        </p:txBody>
      </p:sp>
      <p:sp>
        <p:nvSpPr>
          <p:cNvPr id="24" name="Suorakulmio 23">
            <a:extLst>
              <a:ext uri="{FF2B5EF4-FFF2-40B4-BE49-F238E27FC236}">
                <a16:creationId xmlns:a16="http://schemas.microsoft.com/office/drawing/2014/main" id="{691CF4D6-609A-4085-AE15-2AC09775733D}"/>
              </a:ext>
            </a:extLst>
          </p:cNvPr>
          <p:cNvSpPr/>
          <p:nvPr/>
        </p:nvSpPr>
        <p:spPr bwMode="auto">
          <a:xfrm>
            <a:off x="4283968" y="1275606"/>
            <a:ext cx="4320479" cy="302433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fi-FI" dirty="0"/>
          </a:p>
        </p:txBody>
      </p:sp>
      <p:sp>
        <p:nvSpPr>
          <p:cNvPr id="6" name="Tekstiruutu 5">
            <a:extLst>
              <a:ext uri="{FF2B5EF4-FFF2-40B4-BE49-F238E27FC236}">
                <a16:creationId xmlns:a16="http://schemas.microsoft.com/office/drawing/2014/main" id="{A55F149B-0D01-4EE2-ADB3-24C4C968BF99}"/>
              </a:ext>
            </a:extLst>
          </p:cNvPr>
          <p:cNvSpPr txBox="1"/>
          <p:nvPr/>
        </p:nvSpPr>
        <p:spPr>
          <a:xfrm>
            <a:off x="983394" y="1033625"/>
            <a:ext cx="7776864" cy="2419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fi-FI" sz="1050" spc="-40" dirty="0"/>
              <a:t>Miten sota on vaikuttanut yrityksenne investointisuunnitelmiin Suomessa (kuluvan ja ensi vuoden aikana)?</a:t>
            </a:r>
          </a:p>
        </p:txBody>
      </p:sp>
      <p:sp>
        <p:nvSpPr>
          <p:cNvPr id="9" name="Tekstin paikkamerkki 8">
            <a:extLst>
              <a:ext uri="{FF2B5EF4-FFF2-40B4-BE49-F238E27FC236}">
                <a16:creationId xmlns:a16="http://schemas.microsoft.com/office/drawing/2014/main" id="{42D4FD59-886A-49C0-A8FA-8372396298E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 dirty="0"/>
              <a:t>Sodalla negatiivisia vaikutuksia investointeihin, investointien perumisia kuitenkin vielä vähän</a:t>
            </a:r>
          </a:p>
        </p:txBody>
      </p:sp>
    </p:spTree>
    <p:extLst>
      <p:ext uri="{BB962C8B-B14F-4D97-AF65-F5344CB8AC3E}">
        <p14:creationId xmlns:p14="http://schemas.microsoft.com/office/powerpoint/2010/main" val="2481141947"/>
      </p:ext>
    </p:extLst>
  </p:cSld>
  <p:clrMapOvr>
    <a:masterClrMapping/>
  </p:clrMapOvr>
  <p:transition spd="med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F26D6D9D-9502-49B4-B943-3D60C12B85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11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89C90830-A2F7-4E45-AFC7-FBE3F47B91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F0509442-45EE-4410-8716-56E81DDE98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graphicFrame>
        <p:nvGraphicFramePr>
          <p:cNvPr id="10" name="Sisällön paikkamerkki 9">
            <a:extLst>
              <a:ext uri="{FF2B5EF4-FFF2-40B4-BE49-F238E27FC236}">
                <a16:creationId xmlns:a16="http://schemas.microsoft.com/office/drawing/2014/main" id="{8148119C-8720-486B-AD50-E435BB11F8FC}"/>
              </a:ext>
            </a:extLst>
          </p:cNvPr>
          <p:cNvGraphicFramePr>
            <a:graphicFrameLocks noGrp="1"/>
          </p:cNvGraphicFramePr>
          <p:nvPr>
            <p:ph sz="quarter" idx="17"/>
          </p:nvPr>
        </p:nvGraphicFramePr>
        <p:xfrm>
          <a:off x="381000" y="1275605"/>
          <a:ext cx="8391525" cy="33694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963D92E3-16E8-4D11-AC42-0A09122700F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334682" y="4727574"/>
            <a:ext cx="6341774" cy="364456"/>
          </a:xfrm>
        </p:spPr>
        <p:txBody>
          <a:bodyPr/>
          <a:lstStyle/>
          <a:p>
            <a:r>
              <a:rPr lang="fi-FI" dirty="0"/>
              <a:t>Lähde: jäsenkysely, huhtikuu 2022</a:t>
            </a:r>
          </a:p>
          <a:p>
            <a:r>
              <a:rPr lang="fi-FI" dirty="0"/>
              <a:t>Vastausten lukumäärät per ryhmä:</a:t>
            </a:r>
          </a:p>
          <a:p>
            <a:r>
              <a:rPr lang="fi-FI" dirty="0"/>
              <a:t>Kaikki: 580, Teollisuus: 455, Palvelualat: 125, 0-50: 332, 51-250: 186, 251-500: 32, yli 500: 30.</a:t>
            </a:r>
          </a:p>
        </p:txBody>
      </p:sp>
      <p:sp>
        <p:nvSpPr>
          <p:cNvPr id="23" name="Suorakulmio 22">
            <a:extLst>
              <a:ext uri="{FF2B5EF4-FFF2-40B4-BE49-F238E27FC236}">
                <a16:creationId xmlns:a16="http://schemas.microsoft.com/office/drawing/2014/main" id="{A370E4BA-3CD0-4A77-BFE1-E70C19D2ACDE}"/>
              </a:ext>
            </a:extLst>
          </p:cNvPr>
          <p:cNvSpPr/>
          <p:nvPr/>
        </p:nvSpPr>
        <p:spPr bwMode="auto">
          <a:xfrm>
            <a:off x="1971821" y="1419622"/>
            <a:ext cx="2276179" cy="273630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fi-FI" dirty="0"/>
          </a:p>
        </p:txBody>
      </p:sp>
      <p:sp>
        <p:nvSpPr>
          <p:cNvPr id="24" name="Suorakulmio 23">
            <a:extLst>
              <a:ext uri="{FF2B5EF4-FFF2-40B4-BE49-F238E27FC236}">
                <a16:creationId xmlns:a16="http://schemas.microsoft.com/office/drawing/2014/main" id="{691CF4D6-609A-4085-AE15-2AC09775733D}"/>
              </a:ext>
            </a:extLst>
          </p:cNvPr>
          <p:cNvSpPr/>
          <p:nvPr/>
        </p:nvSpPr>
        <p:spPr bwMode="auto">
          <a:xfrm>
            <a:off x="4283968" y="1419622"/>
            <a:ext cx="4320479" cy="273630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fi-FI" dirty="0"/>
          </a:p>
        </p:txBody>
      </p:sp>
      <p:sp>
        <p:nvSpPr>
          <p:cNvPr id="6" name="Tekstiruutu 5">
            <a:extLst>
              <a:ext uri="{FF2B5EF4-FFF2-40B4-BE49-F238E27FC236}">
                <a16:creationId xmlns:a16="http://schemas.microsoft.com/office/drawing/2014/main" id="{58AD8E8E-ADEF-42B4-96F7-DD86764E6A26}"/>
              </a:ext>
            </a:extLst>
          </p:cNvPr>
          <p:cNvSpPr txBox="1"/>
          <p:nvPr/>
        </p:nvSpPr>
        <p:spPr>
          <a:xfrm>
            <a:off x="827584" y="1022282"/>
            <a:ext cx="7377588" cy="557451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fi-FI" sz="1050" dirty="0"/>
              <a:t>Miten materiaalien ja raaka-aineiden saatavuus on yleisesti ottaen kehittynyt Venäjän hyökkäyksen jälkeen</a:t>
            </a:r>
          </a:p>
          <a:p>
            <a:r>
              <a:rPr lang="fi-FI" sz="1050" dirty="0"/>
              <a:t>yrityksenne näkökulmasta tähän mennessä?</a:t>
            </a:r>
          </a:p>
          <a:p>
            <a:endParaRPr lang="fi-FI" sz="1050" spc="-40" dirty="0" err="1"/>
          </a:p>
        </p:txBody>
      </p:sp>
      <p:sp>
        <p:nvSpPr>
          <p:cNvPr id="11" name="Tekstin paikkamerkki 8">
            <a:extLst>
              <a:ext uri="{FF2B5EF4-FFF2-40B4-BE49-F238E27FC236}">
                <a16:creationId xmlns:a16="http://schemas.microsoft.com/office/drawing/2014/main" id="{A471B511-4AEB-49E4-AAA8-113254F2BA3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52000" y="282150"/>
            <a:ext cx="7992000" cy="648000"/>
          </a:xfrm>
        </p:spPr>
        <p:txBody>
          <a:bodyPr/>
          <a:lstStyle/>
          <a:p>
            <a:r>
              <a:rPr lang="fi-FI" dirty="0"/>
              <a:t>Sota on olennaisesti heikentänyt materiaalien ja raaka-aineiden saatavuutta</a:t>
            </a:r>
          </a:p>
        </p:txBody>
      </p:sp>
    </p:spTree>
    <p:extLst>
      <p:ext uri="{BB962C8B-B14F-4D97-AF65-F5344CB8AC3E}">
        <p14:creationId xmlns:p14="http://schemas.microsoft.com/office/powerpoint/2010/main" val="3163064237"/>
      </p:ext>
    </p:extLst>
  </p:cSld>
  <p:clrMapOvr>
    <a:masterClrMapping/>
  </p:clrMapOvr>
  <p:transition spd="med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F26D6D9D-9502-49B4-B943-3D60C12B85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12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89C90830-A2F7-4E45-AFC7-FBE3F47B91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F0509442-45EE-4410-8716-56E81DDE98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graphicFrame>
        <p:nvGraphicFramePr>
          <p:cNvPr id="10" name="Sisällön paikkamerkki 9">
            <a:extLst>
              <a:ext uri="{FF2B5EF4-FFF2-40B4-BE49-F238E27FC236}">
                <a16:creationId xmlns:a16="http://schemas.microsoft.com/office/drawing/2014/main" id="{8148119C-8720-486B-AD50-E435BB11F8FC}"/>
              </a:ext>
            </a:extLst>
          </p:cNvPr>
          <p:cNvGraphicFramePr>
            <a:graphicFrameLocks noGrp="1"/>
          </p:cNvGraphicFramePr>
          <p:nvPr>
            <p:ph sz="quarter" idx="17"/>
          </p:nvPr>
        </p:nvGraphicFramePr>
        <p:xfrm>
          <a:off x="381000" y="1103313"/>
          <a:ext cx="8391525" cy="3541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963D92E3-16E8-4D11-AC42-0A09122700F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334682" y="4727574"/>
            <a:ext cx="6341774" cy="364456"/>
          </a:xfrm>
        </p:spPr>
        <p:txBody>
          <a:bodyPr/>
          <a:lstStyle/>
          <a:p>
            <a:r>
              <a:rPr lang="fi-FI" dirty="0"/>
              <a:t>Lähde: jäsenkysely, huhtikuu 2022</a:t>
            </a:r>
          </a:p>
          <a:p>
            <a:r>
              <a:rPr lang="fi-FI" dirty="0"/>
              <a:t>Vastausten lukumäärät per ryhmä:</a:t>
            </a:r>
          </a:p>
          <a:p>
            <a:r>
              <a:rPr lang="fi-FI" dirty="0"/>
              <a:t>Kaikki: 580, Teollisuus: 455, Palvelualat: 125, 0-50: 332, 51-250: 186, 251-500: 32, yli 500: 30.</a:t>
            </a:r>
          </a:p>
        </p:txBody>
      </p:sp>
      <p:sp>
        <p:nvSpPr>
          <p:cNvPr id="23" name="Suorakulmio 22">
            <a:extLst>
              <a:ext uri="{FF2B5EF4-FFF2-40B4-BE49-F238E27FC236}">
                <a16:creationId xmlns:a16="http://schemas.microsoft.com/office/drawing/2014/main" id="{A370E4BA-3CD0-4A77-BFE1-E70C19D2ACDE}"/>
              </a:ext>
            </a:extLst>
          </p:cNvPr>
          <p:cNvSpPr/>
          <p:nvPr/>
        </p:nvSpPr>
        <p:spPr bwMode="auto">
          <a:xfrm>
            <a:off x="1971821" y="1275606"/>
            <a:ext cx="2276179" cy="302433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fi-FI" dirty="0"/>
          </a:p>
        </p:txBody>
      </p:sp>
      <p:sp>
        <p:nvSpPr>
          <p:cNvPr id="24" name="Suorakulmio 23">
            <a:extLst>
              <a:ext uri="{FF2B5EF4-FFF2-40B4-BE49-F238E27FC236}">
                <a16:creationId xmlns:a16="http://schemas.microsoft.com/office/drawing/2014/main" id="{691CF4D6-609A-4085-AE15-2AC09775733D}"/>
              </a:ext>
            </a:extLst>
          </p:cNvPr>
          <p:cNvSpPr/>
          <p:nvPr/>
        </p:nvSpPr>
        <p:spPr bwMode="auto">
          <a:xfrm>
            <a:off x="4283968" y="1275606"/>
            <a:ext cx="4320479" cy="302433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fi-FI" dirty="0"/>
          </a:p>
        </p:txBody>
      </p:sp>
      <p:sp>
        <p:nvSpPr>
          <p:cNvPr id="6" name="Tekstiruutu 5">
            <a:extLst>
              <a:ext uri="{FF2B5EF4-FFF2-40B4-BE49-F238E27FC236}">
                <a16:creationId xmlns:a16="http://schemas.microsoft.com/office/drawing/2014/main" id="{3C81A209-8E7A-4CF4-9AE9-E3017B350CDB}"/>
              </a:ext>
            </a:extLst>
          </p:cNvPr>
          <p:cNvSpPr txBox="1"/>
          <p:nvPr/>
        </p:nvSpPr>
        <p:spPr>
          <a:xfrm>
            <a:off x="935596" y="1060958"/>
            <a:ext cx="6696744" cy="41125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fi-FI" sz="1050" dirty="0"/>
              <a:t>Miten arvioit yrityksenne kannattavuuden muuttuvan tänä vuonna viime vuoteen verrattuna?</a:t>
            </a:r>
          </a:p>
          <a:p>
            <a:endParaRPr lang="fi-FI" sz="1050" spc="-40" dirty="0"/>
          </a:p>
        </p:txBody>
      </p:sp>
      <p:sp>
        <p:nvSpPr>
          <p:cNvPr id="9" name="Tekstin paikkamerkki 8">
            <a:extLst>
              <a:ext uri="{FF2B5EF4-FFF2-40B4-BE49-F238E27FC236}">
                <a16:creationId xmlns:a16="http://schemas.microsoft.com/office/drawing/2014/main" id="{8CE5D98F-F5DB-4BF2-8D7E-D9D114736DE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 dirty="0"/>
              <a:t>Tuotantopanosten voimakas hintojen nousu rasittaa yritysten kannattavuutta</a:t>
            </a:r>
          </a:p>
        </p:txBody>
      </p:sp>
    </p:spTree>
    <p:extLst>
      <p:ext uri="{BB962C8B-B14F-4D97-AF65-F5344CB8AC3E}">
        <p14:creationId xmlns:p14="http://schemas.microsoft.com/office/powerpoint/2010/main" val="2223534508"/>
      </p:ext>
    </p:extLst>
  </p:cSld>
  <p:clrMapOvr>
    <a:masterClrMapping/>
  </p:clrMapOvr>
  <p:transition spd="med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>
          <a:xfrm>
            <a:off x="252000" y="282150"/>
            <a:ext cx="7992000" cy="86397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i-FI"/>
              <a:t>Teknologiateollisuuden yritysten saamat tarjouspyynnöt Suomessa* </a:t>
            </a:r>
            <a:endParaRPr lang="fi-FI" sz="1600" b="0"/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>
                <a:solidFill>
                  <a:srgbClr val="29282E"/>
                </a:solidFill>
              </a:rPr>
              <a:pPr/>
              <a:t>13</a:t>
            </a:fld>
            <a:endParaRPr lang="fi-FI">
              <a:solidFill>
                <a:srgbClr val="29282E"/>
              </a:solidFill>
            </a:endParaRP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>
                <a:solidFill>
                  <a:srgbClr val="29282E"/>
                </a:solidFill>
              </a:rPr>
              <a:pPr/>
              <a:t>2.5.2022</a:t>
            </a:fld>
            <a:endParaRPr lang="fi-FI">
              <a:solidFill>
                <a:srgbClr val="29282E"/>
              </a:solidFill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>
                <a:solidFill>
                  <a:srgbClr val="29282E"/>
                </a:solidFill>
              </a:rPr>
              <a:t>Teknologiateollisuus</a:t>
            </a:r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>
          <a:xfrm>
            <a:off x="2334682" y="4727574"/>
            <a:ext cx="3029406" cy="292448"/>
          </a:xfrm>
        </p:spPr>
        <p:txBody>
          <a:bodyPr/>
          <a:lstStyle/>
          <a:p>
            <a:r>
              <a:rPr lang="fi-FI" dirty="0"/>
              <a:t>Lähde: Teknologiateollisuus ry:n tilauskantatiedustelu, </a:t>
            </a:r>
          </a:p>
          <a:p>
            <a:r>
              <a:rPr lang="fi-FI" dirty="0"/>
              <a:t>viimeisin kyselyajankohta: huhtikuu 2022. </a:t>
            </a:r>
          </a:p>
          <a:p>
            <a:endParaRPr lang="fi-FI" dirty="0"/>
          </a:p>
        </p:txBody>
      </p:sp>
      <p:graphicFrame>
        <p:nvGraphicFramePr>
          <p:cNvPr id="8" name="Sisällön paikkamerkki 7"/>
          <p:cNvGraphicFramePr>
            <a:graphicFrameLocks noGrp="1"/>
          </p:cNvGraphicFramePr>
          <p:nvPr>
            <p:ph sz="quarter" idx="17"/>
          </p:nvPr>
        </p:nvGraphicFramePr>
        <p:xfrm>
          <a:off x="381000" y="1081328"/>
          <a:ext cx="8391525" cy="3304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Suorakulmio 5"/>
          <p:cNvSpPr/>
          <p:nvPr/>
        </p:nvSpPr>
        <p:spPr>
          <a:xfrm>
            <a:off x="609192" y="4288357"/>
            <a:ext cx="822410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i-FI" sz="800" dirty="0"/>
              <a:t>*) ”Onko tarjouspyyntöjen määrässä viime viikkoina näkyvissä oleellista vähenemistä tai lisääntymistä, kun verrataan tilannetta noin kolme kuukautta sitten vallinneeseen tilanteeseen”. Saldoluku = niiden yritysten osuus, joissa tarjouspyyntöjen määrä on lisääntynyt – niiden yritysten osuus, joissa tarjouspyyntöjen määrä on vähentynyt. </a:t>
            </a:r>
            <a:r>
              <a:rPr lang="fi-FI" sz="800"/>
              <a:t>Positiivinen saldoluku viittaa kysynnän parantumiseen kolme kuukautta sitten vallinneeseen tilanteeseen nähden.</a:t>
            </a:r>
            <a:endParaRPr lang="fi-FI" sz="800" dirty="0"/>
          </a:p>
        </p:txBody>
      </p:sp>
      <p:graphicFrame>
        <p:nvGraphicFramePr>
          <p:cNvPr id="10" name="Taulukko 9">
            <a:extLst>
              <a:ext uri="{FF2B5EF4-FFF2-40B4-BE49-F238E27FC236}">
                <a16:creationId xmlns:a16="http://schemas.microsoft.com/office/drawing/2014/main" id="{CD03F6E4-A1DB-4839-B471-E329EB65AB8B}"/>
              </a:ext>
            </a:extLst>
          </p:cNvPr>
          <p:cNvGraphicFramePr>
            <a:graphicFrameLocks noGrp="1"/>
          </p:cNvGraphicFramePr>
          <p:nvPr/>
        </p:nvGraphicFramePr>
        <p:xfrm>
          <a:off x="740374" y="2449415"/>
          <a:ext cx="7864075" cy="280504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6057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0576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0576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0576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0576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0576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0421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04213">
                  <a:extLst>
                    <a:ext uri="{9D8B030D-6E8A-4147-A177-3AD203B41FA5}">
                      <a16:colId xmlns:a16="http://schemas.microsoft.com/office/drawing/2014/main" val="3822871466"/>
                    </a:ext>
                  </a:extLst>
                </a:gridCol>
                <a:gridCol w="604213">
                  <a:extLst>
                    <a:ext uri="{9D8B030D-6E8A-4147-A177-3AD203B41FA5}">
                      <a16:colId xmlns:a16="http://schemas.microsoft.com/office/drawing/2014/main" val="727455605"/>
                    </a:ext>
                  </a:extLst>
                </a:gridCol>
                <a:gridCol w="604213">
                  <a:extLst>
                    <a:ext uri="{9D8B030D-6E8A-4147-A177-3AD203B41FA5}">
                      <a16:colId xmlns:a16="http://schemas.microsoft.com/office/drawing/2014/main" val="134493250"/>
                    </a:ext>
                  </a:extLst>
                </a:gridCol>
                <a:gridCol w="604213">
                  <a:extLst>
                    <a:ext uri="{9D8B030D-6E8A-4147-A177-3AD203B41FA5}">
                      <a16:colId xmlns:a16="http://schemas.microsoft.com/office/drawing/2014/main" val="1761203323"/>
                    </a:ext>
                  </a:extLst>
                </a:gridCol>
                <a:gridCol w="604213">
                  <a:extLst>
                    <a:ext uri="{9D8B030D-6E8A-4147-A177-3AD203B41FA5}">
                      <a16:colId xmlns:a16="http://schemas.microsoft.com/office/drawing/2014/main" val="2330874930"/>
                    </a:ext>
                  </a:extLst>
                </a:gridCol>
                <a:gridCol w="604213">
                  <a:extLst>
                    <a:ext uri="{9D8B030D-6E8A-4147-A177-3AD203B41FA5}">
                      <a16:colId xmlns:a16="http://schemas.microsoft.com/office/drawing/2014/main" val="2999849335"/>
                    </a:ext>
                  </a:extLst>
                </a:gridCol>
              </a:tblGrid>
              <a:tr h="280504"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2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3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4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5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9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2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7174727"/>
      </p:ext>
    </p:extLst>
  </p:cSld>
  <p:clrMapOvr>
    <a:masterClrMapping/>
  </p:clrMapOvr>
  <p:transition spd="med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>
          <a:xfrm>
            <a:off x="252000" y="282150"/>
            <a:ext cx="8421552" cy="648000"/>
          </a:xfrm>
        </p:spPr>
        <p:txBody>
          <a:bodyPr/>
          <a:lstStyle/>
          <a:p>
            <a:r>
              <a:rPr lang="fi-FI" dirty="0"/>
              <a:t>Teknologiateollisuuden* uudet tilaukset Suomessa</a:t>
            </a:r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CB6B90-8271-4E8F-82C1-E646FBB48A2E}" type="slidenum">
              <a:rPr kumimoji="0" lang="fi-FI" sz="700" b="0" i="0" u="none" strike="noStrike" kern="1200" cap="none" spc="0" normalizeH="0" baseline="0" noProof="0" smtClean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6798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0C97DB-DA9C-4CFA-B970-B8599B25F3E4}" type="datetime1">
              <a:rPr kumimoji="0" lang="fi-FI" sz="700" b="0" i="0" u="none" strike="noStrike" kern="1200" cap="none" spc="0" normalizeH="0" baseline="0" noProof="0" smtClean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l" defTabSz="6798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.5.2022</a:t>
            </a:fld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700" b="0" i="0" u="none" strike="noStrike" kern="1200" cap="none" spc="0" normalizeH="0" baseline="0" noProof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Teknologiateollisuus</a:t>
            </a:r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>
          <a:xfrm>
            <a:off x="2334682" y="4727574"/>
            <a:ext cx="4634955" cy="165163"/>
          </a:xfrm>
        </p:spPr>
        <p:txBody>
          <a:bodyPr/>
          <a:lstStyle/>
          <a:p>
            <a:r>
              <a:rPr lang="fi-FI" dirty="0"/>
              <a:t>Lähde: Teknologiateollisuus ry:n tilauskantatiedustelun vastaajayritykset, </a:t>
            </a:r>
          </a:p>
          <a:p>
            <a:r>
              <a:rPr lang="fi-FI" dirty="0"/>
              <a:t>viimeisin tieto tammi-maaliskuu 2022.</a:t>
            </a:r>
          </a:p>
        </p:txBody>
      </p:sp>
      <p:graphicFrame>
        <p:nvGraphicFramePr>
          <p:cNvPr id="12" name="Object 5"/>
          <p:cNvGraphicFramePr>
            <a:graphicFrameLocks noGrp="1" noChangeAspect="1"/>
          </p:cNvGraphicFramePr>
          <p:nvPr>
            <p:ph sz="quarter" idx="17"/>
          </p:nvPr>
        </p:nvGraphicFramePr>
        <p:xfrm>
          <a:off x="107504" y="1016526"/>
          <a:ext cx="8856983" cy="30456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Text Box 7"/>
          <p:cNvSpPr txBox="1">
            <a:spLocks noChangeArrowheads="1"/>
          </p:cNvSpPr>
          <p:nvPr/>
        </p:nvSpPr>
        <p:spPr bwMode="auto">
          <a:xfrm>
            <a:off x="943147" y="1125043"/>
            <a:ext cx="2375726" cy="245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3381" tIns="41690" rIns="83381" bIns="41690">
            <a:spAutoFit/>
          </a:bodyPr>
          <a:lstStyle>
            <a:lvl1pPr defTabSz="827088">
              <a:defRPr>
                <a:solidFill>
                  <a:schemeClr val="tx1"/>
                </a:solidFill>
                <a:latin typeface="Arial" charset="0"/>
              </a:defRPr>
            </a:lvl1pPr>
            <a:lvl2pPr marL="414338" defTabSz="827088">
              <a:defRPr>
                <a:solidFill>
                  <a:schemeClr val="tx1"/>
                </a:solidFill>
                <a:latin typeface="Arial" charset="0"/>
              </a:defRPr>
            </a:lvl2pPr>
            <a:lvl3pPr marL="827088" defTabSz="827088">
              <a:defRPr>
                <a:solidFill>
                  <a:schemeClr val="tx1"/>
                </a:solidFill>
                <a:latin typeface="Arial" charset="0"/>
              </a:defRPr>
            </a:lvl3pPr>
            <a:lvl4pPr marL="1241425" defTabSz="827088">
              <a:defRPr>
                <a:solidFill>
                  <a:schemeClr val="tx1"/>
                </a:solidFill>
                <a:latin typeface="Arial" charset="0"/>
              </a:defRPr>
            </a:lvl4pPr>
            <a:lvl5pPr marL="1655763" defTabSz="827088">
              <a:defRPr>
                <a:solidFill>
                  <a:schemeClr val="tx1"/>
                </a:solidFill>
                <a:latin typeface="Arial" charset="0"/>
              </a:defRPr>
            </a:lvl5pPr>
            <a:lvl6pPr marL="21129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5701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0273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4845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270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b="0" i="0" u="none" strike="noStrike" kern="1200" cap="none" spc="0" normalizeH="0" baseline="0" noProof="0" dirty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ＭＳ Ｐゴシック" pitchFamily="34" charset="-128"/>
                <a:cs typeface="+mn-cs"/>
              </a:rPr>
              <a:t>Miljoonaa euroa, käyvin hinnoin </a:t>
            </a:r>
          </a:p>
        </p:txBody>
      </p:sp>
      <p:graphicFrame>
        <p:nvGraphicFramePr>
          <p:cNvPr id="25" name="Taulukko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8727729"/>
              </p:ext>
            </p:extLst>
          </p:nvPr>
        </p:nvGraphicFramePr>
        <p:xfrm>
          <a:off x="3438453" y="3934949"/>
          <a:ext cx="3767898" cy="803820"/>
        </p:xfrm>
        <a:graphic>
          <a:graphicData uri="http://schemas.openxmlformats.org/drawingml/2006/table">
            <a:tbl>
              <a:tblPr/>
              <a:tblGrid>
                <a:gridCol w="8638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784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256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b="0" i="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Muutos</a:t>
                      </a:r>
                      <a:r>
                        <a:rPr lang="en-GB" sz="900" b="0" i="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900" u="none" strike="noStrike" baseline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I,2022 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/ I,2021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I,2022 / IV,2021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Vientiin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17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-28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Kotimaahan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-14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-19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Yhteensä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9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-26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6" name="Text Box 10"/>
          <p:cNvSpPr txBox="1">
            <a:spLocks noChangeArrowheads="1"/>
          </p:cNvSpPr>
          <p:nvPr/>
        </p:nvSpPr>
        <p:spPr bwMode="auto">
          <a:xfrm>
            <a:off x="7255083" y="3953871"/>
            <a:ext cx="1521649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0" marR="0" lvl="0" indent="0" algn="l" defTabSz="8123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 dirty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Arial Unicode MS"/>
                <a:cs typeface="+mn-cs"/>
              </a:rPr>
              <a:t>*) Pl. metallien jalostus, pelialan ohjelmistoyritykset ja datakeskukset </a:t>
            </a:r>
          </a:p>
        </p:txBody>
      </p:sp>
      <p:graphicFrame>
        <p:nvGraphicFramePr>
          <p:cNvPr id="14" name="Taulukko 13">
            <a:extLst>
              <a:ext uri="{FF2B5EF4-FFF2-40B4-BE49-F238E27FC236}">
                <a16:creationId xmlns:a16="http://schemas.microsoft.com/office/drawing/2014/main" id="{8AD21D0F-9B6A-4E23-A81A-E23C9B1E89C1}"/>
              </a:ext>
            </a:extLst>
          </p:cNvPr>
          <p:cNvGraphicFramePr>
            <a:graphicFrameLocks noGrp="1"/>
          </p:cNvGraphicFramePr>
          <p:nvPr/>
        </p:nvGraphicFramePr>
        <p:xfrm>
          <a:off x="827584" y="3673367"/>
          <a:ext cx="6984770" cy="280504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53803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3803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3803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3803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3803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3803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3665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36654">
                  <a:extLst>
                    <a:ext uri="{9D8B030D-6E8A-4147-A177-3AD203B41FA5}">
                      <a16:colId xmlns:a16="http://schemas.microsoft.com/office/drawing/2014/main" val="3822871466"/>
                    </a:ext>
                  </a:extLst>
                </a:gridCol>
                <a:gridCol w="536654">
                  <a:extLst>
                    <a:ext uri="{9D8B030D-6E8A-4147-A177-3AD203B41FA5}">
                      <a16:colId xmlns:a16="http://schemas.microsoft.com/office/drawing/2014/main" val="727455605"/>
                    </a:ext>
                  </a:extLst>
                </a:gridCol>
                <a:gridCol w="536654">
                  <a:extLst>
                    <a:ext uri="{9D8B030D-6E8A-4147-A177-3AD203B41FA5}">
                      <a16:colId xmlns:a16="http://schemas.microsoft.com/office/drawing/2014/main" val="134493250"/>
                    </a:ext>
                  </a:extLst>
                </a:gridCol>
                <a:gridCol w="536654">
                  <a:extLst>
                    <a:ext uri="{9D8B030D-6E8A-4147-A177-3AD203B41FA5}">
                      <a16:colId xmlns:a16="http://schemas.microsoft.com/office/drawing/2014/main" val="1761203323"/>
                    </a:ext>
                  </a:extLst>
                </a:gridCol>
                <a:gridCol w="536654">
                  <a:extLst>
                    <a:ext uri="{9D8B030D-6E8A-4147-A177-3AD203B41FA5}">
                      <a16:colId xmlns:a16="http://schemas.microsoft.com/office/drawing/2014/main" val="1605823485"/>
                    </a:ext>
                  </a:extLst>
                </a:gridCol>
                <a:gridCol w="536654">
                  <a:extLst>
                    <a:ext uri="{9D8B030D-6E8A-4147-A177-3AD203B41FA5}">
                      <a16:colId xmlns:a16="http://schemas.microsoft.com/office/drawing/2014/main" val="1470258251"/>
                    </a:ext>
                  </a:extLst>
                </a:gridCol>
              </a:tblGrid>
              <a:tr h="280504"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2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3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4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5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9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2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61487886"/>
      </p:ext>
    </p:extLst>
  </p:cSld>
  <p:clrMapOvr>
    <a:masterClrMapping/>
  </p:clrMapOvr>
  <p:transition spd="med"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>
          <a:xfrm>
            <a:off x="252000" y="282150"/>
            <a:ext cx="8421552" cy="6480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i-FI" dirty="0"/>
              <a:t>Kone- ja metallituoteteollisuuden uudet tilaukset Suomessa</a:t>
            </a:r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CB6B90-8271-4E8F-82C1-E646FBB48A2E}" type="slidenum">
              <a:rPr kumimoji="0" lang="fi-FI" sz="700" b="0" i="0" u="none" strike="noStrike" kern="1200" cap="none" spc="0" normalizeH="0" baseline="0" noProof="0" smtClean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6798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0C97DB-DA9C-4CFA-B970-B8599B25F3E4}" type="datetime1">
              <a:rPr kumimoji="0" lang="fi-FI" sz="700" b="0" i="0" u="none" strike="noStrike" kern="1200" cap="none" spc="0" normalizeH="0" baseline="0" noProof="0" smtClean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l" defTabSz="6798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.5.2022</a:t>
            </a:fld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700" b="0" i="0" u="none" strike="noStrike" kern="1200" cap="none" spc="0" normalizeH="0" baseline="0" noProof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Teknologiateollisuus</a:t>
            </a:r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>
          <a:xfrm>
            <a:off x="2334682" y="4727574"/>
            <a:ext cx="4634955" cy="165163"/>
          </a:xfrm>
        </p:spPr>
        <p:txBody>
          <a:bodyPr/>
          <a:lstStyle/>
          <a:p>
            <a:r>
              <a:rPr lang="fi-FI" dirty="0"/>
              <a:t>Lähde: Teknologiateollisuus ry:n tilauskantatiedustelun vastaajayritykset, </a:t>
            </a:r>
          </a:p>
          <a:p>
            <a:r>
              <a:rPr lang="fi-FI" dirty="0"/>
              <a:t>viimeisin tammi-maaliskuu 2022.</a:t>
            </a:r>
          </a:p>
        </p:txBody>
      </p:sp>
      <p:graphicFrame>
        <p:nvGraphicFramePr>
          <p:cNvPr id="12" name="Object 5"/>
          <p:cNvGraphicFramePr>
            <a:graphicFrameLocks noGrp="1" noChangeAspect="1"/>
          </p:cNvGraphicFramePr>
          <p:nvPr>
            <p:ph sz="quarter" idx="17"/>
          </p:nvPr>
        </p:nvGraphicFramePr>
        <p:xfrm>
          <a:off x="107504" y="1016526"/>
          <a:ext cx="8856983" cy="30456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Text Box 7"/>
          <p:cNvSpPr txBox="1">
            <a:spLocks noChangeArrowheads="1"/>
          </p:cNvSpPr>
          <p:nvPr/>
        </p:nvSpPr>
        <p:spPr bwMode="auto">
          <a:xfrm>
            <a:off x="943147" y="1125043"/>
            <a:ext cx="2375726" cy="245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3381" tIns="41690" rIns="83381" bIns="41690">
            <a:spAutoFit/>
          </a:bodyPr>
          <a:lstStyle>
            <a:lvl1pPr defTabSz="827088">
              <a:defRPr>
                <a:solidFill>
                  <a:schemeClr val="tx1"/>
                </a:solidFill>
                <a:latin typeface="Arial" charset="0"/>
              </a:defRPr>
            </a:lvl1pPr>
            <a:lvl2pPr marL="414338" defTabSz="827088">
              <a:defRPr>
                <a:solidFill>
                  <a:schemeClr val="tx1"/>
                </a:solidFill>
                <a:latin typeface="Arial" charset="0"/>
              </a:defRPr>
            </a:lvl2pPr>
            <a:lvl3pPr marL="827088" defTabSz="827088">
              <a:defRPr>
                <a:solidFill>
                  <a:schemeClr val="tx1"/>
                </a:solidFill>
                <a:latin typeface="Arial" charset="0"/>
              </a:defRPr>
            </a:lvl3pPr>
            <a:lvl4pPr marL="1241425" defTabSz="827088">
              <a:defRPr>
                <a:solidFill>
                  <a:schemeClr val="tx1"/>
                </a:solidFill>
                <a:latin typeface="Arial" charset="0"/>
              </a:defRPr>
            </a:lvl4pPr>
            <a:lvl5pPr marL="1655763" defTabSz="827088">
              <a:defRPr>
                <a:solidFill>
                  <a:schemeClr val="tx1"/>
                </a:solidFill>
                <a:latin typeface="Arial" charset="0"/>
              </a:defRPr>
            </a:lvl5pPr>
            <a:lvl6pPr marL="21129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5701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0273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4845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270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b="0" i="0" u="none" strike="noStrike" kern="1200" cap="none" spc="0" normalizeH="0" baseline="0" noProof="0" dirty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ＭＳ Ｐゴシック" pitchFamily="34" charset="-128"/>
                <a:cs typeface="+mn-cs"/>
              </a:rPr>
              <a:t>Miljoonaa euroa, käyvin hinnoin </a:t>
            </a:r>
          </a:p>
        </p:txBody>
      </p:sp>
      <p:graphicFrame>
        <p:nvGraphicFramePr>
          <p:cNvPr id="25" name="Taulukko 24"/>
          <p:cNvGraphicFramePr>
            <a:graphicFrameLocks noGrp="1"/>
          </p:cNvGraphicFramePr>
          <p:nvPr/>
        </p:nvGraphicFramePr>
        <p:xfrm>
          <a:off x="3438453" y="3934949"/>
          <a:ext cx="3767898" cy="803820"/>
        </p:xfrm>
        <a:graphic>
          <a:graphicData uri="http://schemas.openxmlformats.org/drawingml/2006/table">
            <a:tbl>
              <a:tblPr/>
              <a:tblGrid>
                <a:gridCol w="8638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784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256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b="0" i="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Muutos</a:t>
                      </a:r>
                      <a:r>
                        <a:rPr lang="en-GB" sz="900" b="0" i="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I,2022 / I,2021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I,2022 / IV,2021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Vientiin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20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-17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Kotimaahan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-23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-5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Yhteensä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10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-15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14" name="Taulukko 13">
            <a:extLst>
              <a:ext uri="{FF2B5EF4-FFF2-40B4-BE49-F238E27FC236}">
                <a16:creationId xmlns:a16="http://schemas.microsoft.com/office/drawing/2014/main" id="{8AD21D0F-9B6A-4E23-A81A-E23C9B1E89C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1405804"/>
              </p:ext>
            </p:extLst>
          </p:nvPr>
        </p:nvGraphicFramePr>
        <p:xfrm>
          <a:off x="827584" y="3673367"/>
          <a:ext cx="6984770" cy="280504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53803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3803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3803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3803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3803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3803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3665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36654">
                  <a:extLst>
                    <a:ext uri="{9D8B030D-6E8A-4147-A177-3AD203B41FA5}">
                      <a16:colId xmlns:a16="http://schemas.microsoft.com/office/drawing/2014/main" val="3822871466"/>
                    </a:ext>
                  </a:extLst>
                </a:gridCol>
                <a:gridCol w="536654">
                  <a:extLst>
                    <a:ext uri="{9D8B030D-6E8A-4147-A177-3AD203B41FA5}">
                      <a16:colId xmlns:a16="http://schemas.microsoft.com/office/drawing/2014/main" val="727455605"/>
                    </a:ext>
                  </a:extLst>
                </a:gridCol>
                <a:gridCol w="536654">
                  <a:extLst>
                    <a:ext uri="{9D8B030D-6E8A-4147-A177-3AD203B41FA5}">
                      <a16:colId xmlns:a16="http://schemas.microsoft.com/office/drawing/2014/main" val="134493250"/>
                    </a:ext>
                  </a:extLst>
                </a:gridCol>
                <a:gridCol w="536654">
                  <a:extLst>
                    <a:ext uri="{9D8B030D-6E8A-4147-A177-3AD203B41FA5}">
                      <a16:colId xmlns:a16="http://schemas.microsoft.com/office/drawing/2014/main" val="1761203323"/>
                    </a:ext>
                  </a:extLst>
                </a:gridCol>
                <a:gridCol w="536654">
                  <a:extLst>
                    <a:ext uri="{9D8B030D-6E8A-4147-A177-3AD203B41FA5}">
                      <a16:colId xmlns:a16="http://schemas.microsoft.com/office/drawing/2014/main" val="2260079161"/>
                    </a:ext>
                  </a:extLst>
                </a:gridCol>
                <a:gridCol w="536654">
                  <a:extLst>
                    <a:ext uri="{9D8B030D-6E8A-4147-A177-3AD203B41FA5}">
                      <a16:colId xmlns:a16="http://schemas.microsoft.com/office/drawing/2014/main" val="1605823485"/>
                    </a:ext>
                  </a:extLst>
                </a:gridCol>
              </a:tblGrid>
              <a:tr h="280504"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2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3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4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5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9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2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05809879"/>
      </p:ext>
    </p:extLst>
  </p:cSld>
  <p:clrMapOvr>
    <a:masterClrMapping/>
  </p:clrMapOvr>
  <p:transition spd="med"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>
          <a:xfrm>
            <a:off x="252000" y="282150"/>
            <a:ext cx="7992408" cy="648000"/>
          </a:xfrm>
        </p:spPr>
        <p:txBody>
          <a:bodyPr>
            <a:noAutofit/>
          </a:bodyPr>
          <a:lstStyle/>
          <a:p>
            <a:r>
              <a:rPr lang="fi-FI" sz="2000" dirty="0"/>
              <a:t>Teknologiateollisuuden henkilöstömäärä Suomessa kasvoi ripeästi alkuvuonna, rekrytointeja ennätysmäärä</a:t>
            </a:r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16</a:t>
            </a:fld>
            <a:endParaRPr lang="fi-FI" dirty="0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i-FI" dirty="0"/>
              <a:t>Lähde: Teknologiateollisuus ry:n henkilöstötiedustelu</a:t>
            </a:r>
          </a:p>
        </p:txBody>
      </p:sp>
      <p:graphicFrame>
        <p:nvGraphicFramePr>
          <p:cNvPr id="9" name="Sisällön paikkamerkki 7">
            <a:extLst>
              <a:ext uri="{FF2B5EF4-FFF2-40B4-BE49-F238E27FC236}">
                <a16:creationId xmlns:a16="http://schemas.microsoft.com/office/drawing/2014/main" id="{E0EB4AEC-EC50-4F67-BEB1-A8415E3A7B3A}"/>
              </a:ext>
            </a:extLst>
          </p:cNvPr>
          <p:cNvGraphicFramePr>
            <a:graphicFrameLocks/>
          </p:cNvGraphicFramePr>
          <p:nvPr/>
        </p:nvGraphicFramePr>
        <p:xfrm>
          <a:off x="252000" y="1131590"/>
          <a:ext cx="8496464" cy="3456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127566419"/>
      </p:ext>
    </p:extLst>
  </p:cSld>
  <p:clrMapOvr>
    <a:masterClrMapping/>
  </p:clrMapOvr>
  <p:transition spd="med"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B1EEA068-123C-4013-B1BB-62E35EE52D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 dirty="0"/>
              <a:t>Yhteenveto teknologiateollisuuden tilanteesta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1D8F70A0-36D3-4221-BBF8-ACBFA7903F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17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87E1D219-EF19-43BE-A264-915D60C239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84DFD2AD-AFC5-4975-8D04-12C391F42D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6" name="Sisällön paikkamerkki 5">
            <a:extLst>
              <a:ext uri="{FF2B5EF4-FFF2-40B4-BE49-F238E27FC236}">
                <a16:creationId xmlns:a16="http://schemas.microsoft.com/office/drawing/2014/main" id="{438E4283-469C-4E61-9967-BB1E108BD8A6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76237" y="1024839"/>
            <a:ext cx="8391525" cy="3740000"/>
          </a:xfrm>
        </p:spPr>
        <p:txBody>
          <a:bodyPr>
            <a:no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300" dirty="0"/>
              <a:t>Sota ja epävarmuus painavat teknologiayritysten näkymiä – kasvua silti näköpiirissä.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300" dirty="0"/>
              <a:t>Riskit merkittäviä: kaasun toimitukset Venäjältä, sodan kehittyminen, Kiinan rooli, </a:t>
            </a:r>
            <a:r>
              <a:rPr lang="fi-FI" sz="1300"/>
              <a:t>stagflaatio jne.</a:t>
            </a:r>
            <a:endParaRPr lang="fi-FI" sz="13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300" dirty="0"/>
              <a:t>Huhtikuussa kysyntätilanne vielä kohtuullinen ja tilauksiakin tuli ensimmäisellä vuosineljänneksellä vielä hyvin.</a:t>
            </a:r>
          </a:p>
          <a:p>
            <a:pPr marL="757082" lvl="1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000" dirty="0"/>
              <a:t>Mikäli materiaalien saatavuus ei aiheuta tuotantokatkoksia, tuotanto ja liikevaihto kehittynevät kesän aikana suotuisasti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300" dirty="0"/>
              <a:t>Teollisuuden pidemmän aikavälin suhdanneodotukset heikentyneet meillä ja maailmalla selvästi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300" dirty="0"/>
              <a:t>Investointisuunnitelmia jarrutetaan. Syinä yleinen epävarmuus ja riskien kasvu, hintakehityksen ennakoimattomuus. Myös Suomen maariskin lisääntyminen aiheuttaa runsaasti huolta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300" dirty="0"/>
              <a:t>Kannattavuus koetuksella.</a:t>
            </a:r>
          </a:p>
          <a:p>
            <a:pPr marL="757082" lvl="1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000" dirty="0"/>
              <a:t>Tuotantopanosten hinnat korkealla ja hintavaihtelut suuria </a:t>
            </a:r>
            <a:r>
              <a:rPr lang="fi-FI" sz="1000" dirty="0">
                <a:sym typeface="Wingdings" panose="05000000000000000000" pitchFamily="2" charset="2"/>
              </a:rPr>
              <a:t> projektien kannattavuuden hallinta erittäin vaikeaa.</a:t>
            </a:r>
          </a:p>
          <a:p>
            <a:pPr marL="757082" lvl="1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000" dirty="0">
                <a:sym typeface="Wingdings" panose="05000000000000000000" pitchFamily="2" charset="2"/>
              </a:rPr>
              <a:t>Materiaalien saatavuus heikkoa  varastoja pyritään kasvattamaan  pääomaa sitoutuu varastoihin  kannattavuus heikkenee + varastoriski kasvaa.</a:t>
            </a:r>
            <a:endParaRPr lang="fi-FI" sz="10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300" dirty="0"/>
              <a:t>Työmarkkinoilla vältettävä ulkoisista syistä johtuvan kustannusinflaation muuttamista kotikutoiseksi  palkkainflaatioksi.</a:t>
            </a:r>
          </a:p>
        </p:txBody>
      </p:sp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1DC11B62-82CC-4782-8C0B-21C0007614F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970922604"/>
      </p:ext>
    </p:extLst>
  </p:cSld>
  <p:clrMapOvr>
    <a:masterClrMapping/>
  </p:clrMapOvr>
  <p:transition spd="med"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40907C84-4663-4DC6-B126-256840B8741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72800" y="1924882"/>
            <a:ext cx="6977283" cy="1438956"/>
          </a:xfrm>
        </p:spPr>
        <p:txBody>
          <a:bodyPr/>
          <a:lstStyle/>
          <a:p>
            <a:r>
              <a:rPr lang="fi-FI" dirty="0"/>
              <a:t>Kommenttipuheenvuorot:</a:t>
            </a:r>
          </a:p>
          <a:p>
            <a:endParaRPr lang="fi-FI" dirty="0"/>
          </a:p>
          <a:p>
            <a:r>
              <a:rPr lang="fi-FI" dirty="0"/>
              <a:t>Jaakko Hirvola</a:t>
            </a:r>
          </a:p>
          <a:p>
            <a:r>
              <a:rPr lang="fi-FI" dirty="0"/>
              <a:t>Matti Mannonen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7A68CCB8-33EA-41B5-9F9A-507D87401A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18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52243FC3-653F-4D19-92B4-86E65DACB7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D0C29F-D373-4791-88C9-86C29F06AD83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85844D15-59B2-4253-AD9D-BEE0FD80FA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929075840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25165083-82DB-4E44-8B62-0436D46FE3C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51623" y="1995686"/>
            <a:ext cx="7440754" cy="1797617"/>
          </a:xfrm>
        </p:spPr>
        <p:txBody>
          <a:bodyPr>
            <a:noAutofit/>
          </a:bodyPr>
          <a:lstStyle/>
          <a:p>
            <a:r>
              <a:rPr lang="fi-FI" sz="2000" dirty="0"/>
              <a:t>Sota ja epävarmuus painavat teknologiayritysten näkymiä – kasvua silti näköpiirissä </a:t>
            </a:r>
          </a:p>
          <a:p>
            <a:endParaRPr lang="fi-FI" sz="1600" dirty="0"/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829D7C96-6092-444C-B8F9-982503A61A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2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52F7CDC9-FE49-461B-8232-A859BAC787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5A29F8-3631-43D8-937B-CB2D984A1FF3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2CA72096-0DE0-44E3-9830-9DCC211505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272776827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3</a:t>
            </a:fld>
            <a:endParaRPr lang="fi-FI" dirty="0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A50D0A-99B9-48FE-8B08-047EE10ADBDA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8" name="Tekstin paikkamerkki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i-FI" dirty="0"/>
              <a:t>Lähde: IMF (</a:t>
            </a:r>
            <a:r>
              <a:rPr lang="fi-FI" dirty="0" err="1"/>
              <a:t>April</a:t>
            </a:r>
            <a:r>
              <a:rPr lang="fi-FI" dirty="0"/>
              <a:t> 2022) </a:t>
            </a:r>
          </a:p>
        </p:txBody>
      </p:sp>
      <p:sp>
        <p:nvSpPr>
          <p:cNvPr id="10" name="Tekstin paikkamerkki 7"/>
          <p:cNvSpPr>
            <a:spLocks noGrp="1"/>
          </p:cNvSpPr>
          <p:nvPr>
            <p:ph type="body" sz="quarter" idx="15"/>
          </p:nvPr>
        </p:nvSpPr>
        <p:spPr>
          <a:xfrm>
            <a:off x="252000" y="282149"/>
            <a:ext cx="7992000" cy="932381"/>
          </a:xfrm>
        </p:spPr>
        <p:txBody>
          <a:bodyPr/>
          <a:lstStyle/>
          <a:p>
            <a:r>
              <a:rPr lang="fi-FI" dirty="0"/>
              <a:t>Maailmantalouden ennustetaan kasvavan 3,6 % vuonna 2022, kun se kasvoi 6,1 % vuonna 2021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fi-FI" sz="1200" b="0" dirty="0"/>
              <a:t>Bkt:n kasvu 2022/2021, %</a:t>
            </a:r>
            <a:endParaRPr lang="fi-FI" dirty="0"/>
          </a:p>
        </p:txBody>
      </p:sp>
      <p:graphicFrame>
        <p:nvGraphicFramePr>
          <p:cNvPr id="200" name="Object 5"/>
          <p:cNvGraphicFramePr>
            <a:graphicFrameLocks noGrp="1" noChangeAspect="1"/>
          </p:cNvGraphicFramePr>
          <p:nvPr>
            <p:ph sz="quarter" idx="17"/>
          </p:nvPr>
        </p:nvGraphicFramePr>
        <p:xfrm>
          <a:off x="376237" y="1065471"/>
          <a:ext cx="8391525" cy="3541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01" name="Rectangle 18"/>
          <p:cNvSpPr>
            <a:spLocks noChangeArrowheads="1"/>
          </p:cNvSpPr>
          <p:nvPr/>
        </p:nvSpPr>
        <p:spPr bwMode="auto">
          <a:xfrm flipV="1">
            <a:off x="845463" y="2233830"/>
            <a:ext cx="1274464" cy="525042"/>
          </a:xfrm>
          <a:prstGeom prst="rect">
            <a:avLst/>
          </a:prstGeom>
          <a:solidFill>
            <a:schemeClr val="accent5"/>
          </a:solidFill>
          <a:ln w="9525">
            <a:solidFill>
              <a:srgbClr val="29282E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14" b="0" i="0" u="none" strike="noStrike" kern="0" cap="none" spc="0" normalizeH="0" baseline="0" noProof="0">
              <a:ln>
                <a:noFill/>
              </a:ln>
              <a:solidFill>
                <a:srgbClr val="002664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02" name="Rectangle 19"/>
          <p:cNvSpPr>
            <a:spLocks noChangeArrowheads="1"/>
          </p:cNvSpPr>
          <p:nvPr/>
        </p:nvSpPr>
        <p:spPr bwMode="auto">
          <a:xfrm flipV="1">
            <a:off x="2124988" y="2343360"/>
            <a:ext cx="1194331" cy="415499"/>
          </a:xfrm>
          <a:prstGeom prst="rect">
            <a:avLst/>
          </a:prstGeom>
          <a:solidFill>
            <a:schemeClr val="tx2"/>
          </a:solidFill>
          <a:ln w="9525">
            <a:solidFill>
              <a:srgbClr val="29282E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14" b="0" i="0" u="none" strike="noStrike" kern="0" cap="none" spc="0" normalizeH="0" baseline="0" noProof="0">
              <a:ln>
                <a:noFill/>
              </a:ln>
              <a:solidFill>
                <a:srgbClr val="002664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03" name="Rectangle 20"/>
          <p:cNvSpPr>
            <a:spLocks noChangeArrowheads="1"/>
          </p:cNvSpPr>
          <p:nvPr/>
        </p:nvSpPr>
        <p:spPr bwMode="auto">
          <a:xfrm>
            <a:off x="3854257" y="2390442"/>
            <a:ext cx="195138" cy="361541"/>
          </a:xfrm>
          <a:prstGeom prst="rect">
            <a:avLst/>
          </a:prstGeom>
          <a:solidFill>
            <a:srgbClr val="FFC000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14" b="0" i="0" u="none" strike="noStrike" kern="0" cap="none" spc="0" normalizeH="0" baseline="0" noProof="0">
              <a:ln>
                <a:noFill/>
              </a:ln>
              <a:solidFill>
                <a:srgbClr val="002664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04" name="Rectangle 21"/>
          <p:cNvSpPr>
            <a:spLocks noChangeArrowheads="1"/>
          </p:cNvSpPr>
          <p:nvPr/>
        </p:nvSpPr>
        <p:spPr bwMode="auto">
          <a:xfrm>
            <a:off x="4056818" y="2084771"/>
            <a:ext cx="1444670" cy="674101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rgbClr val="29282E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14" b="0" i="0" u="none" strike="noStrike" kern="0" cap="none" spc="0" normalizeH="0" baseline="0" noProof="0">
              <a:ln>
                <a:noFill/>
              </a:ln>
              <a:solidFill>
                <a:srgbClr val="002664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05" name="Text Box 22"/>
          <p:cNvSpPr txBox="1">
            <a:spLocks noChangeArrowheads="1"/>
          </p:cNvSpPr>
          <p:nvPr/>
        </p:nvSpPr>
        <p:spPr bwMode="auto">
          <a:xfrm>
            <a:off x="796351" y="1934407"/>
            <a:ext cx="1533102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1pPr>
            <a:lvl2pPr marL="742950" indent="-28575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2pPr>
            <a:lvl3pPr marL="11430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3pPr>
            <a:lvl4pPr marL="16002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4pPr>
            <a:lvl5pPr marL="20574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9pPr>
          </a:lstStyle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ＭＳ Ｐゴシック" pitchFamily="-128" charset="-128"/>
              </a:rPr>
              <a:t>Pohjois-Amerikka</a:t>
            </a:r>
          </a:p>
        </p:txBody>
      </p:sp>
      <p:sp>
        <p:nvSpPr>
          <p:cNvPr id="206" name="Text Box 23"/>
          <p:cNvSpPr txBox="1">
            <a:spLocks noChangeArrowheads="1"/>
          </p:cNvSpPr>
          <p:nvPr/>
        </p:nvSpPr>
        <p:spPr bwMode="auto">
          <a:xfrm>
            <a:off x="2107295" y="1778686"/>
            <a:ext cx="1238192" cy="415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1pPr>
            <a:lvl2pPr marL="742950" indent="-28575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2pPr>
            <a:lvl3pPr marL="11430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3pPr>
            <a:lvl4pPr marL="16002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4pPr>
            <a:lvl5pPr marL="20574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9pPr>
          </a:lstStyle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ＭＳ Ｐゴシック" pitchFamily="-128" charset="-128"/>
              </a:rPr>
              <a:t>Euromaat ja </a:t>
            </a:r>
          </a:p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ＭＳ Ｐゴシック" pitchFamily="-128" charset="-128"/>
              </a:rPr>
              <a:t>Länsi-Eurooppa</a:t>
            </a:r>
          </a:p>
        </p:txBody>
      </p:sp>
      <p:sp>
        <p:nvSpPr>
          <p:cNvPr id="207" name="Text Box 24"/>
          <p:cNvSpPr txBox="1">
            <a:spLocks noChangeArrowheads="1"/>
          </p:cNvSpPr>
          <p:nvPr/>
        </p:nvSpPr>
        <p:spPr bwMode="auto">
          <a:xfrm>
            <a:off x="3784722" y="1807156"/>
            <a:ext cx="681948" cy="2539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1pPr>
            <a:lvl2pPr marL="742950" indent="-28575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2pPr>
            <a:lvl3pPr marL="11430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3pPr>
            <a:lvl4pPr marL="16002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4pPr>
            <a:lvl5pPr marL="20574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9pPr>
          </a:lstStyle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ＭＳ Ｐゴシック" pitchFamily="-128" charset="-128"/>
              </a:rPr>
              <a:t>Japani </a:t>
            </a:r>
          </a:p>
        </p:txBody>
      </p:sp>
      <p:sp>
        <p:nvSpPr>
          <p:cNvPr id="208" name="Text Box 25"/>
          <p:cNvSpPr txBox="1">
            <a:spLocks noChangeArrowheads="1"/>
          </p:cNvSpPr>
          <p:nvPr/>
        </p:nvSpPr>
        <p:spPr bwMode="auto">
          <a:xfrm>
            <a:off x="4416339" y="1792314"/>
            <a:ext cx="598745" cy="2539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1pPr>
            <a:lvl2pPr marL="742950" indent="-28575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2pPr>
            <a:lvl3pPr marL="11430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3pPr>
            <a:lvl4pPr marL="16002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4pPr>
            <a:lvl5pPr marL="20574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9pPr>
          </a:lstStyle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ＭＳ Ｐゴシック" pitchFamily="-128" charset="-128"/>
              </a:rPr>
              <a:t>Kiina</a:t>
            </a:r>
          </a:p>
        </p:txBody>
      </p:sp>
      <p:sp>
        <p:nvSpPr>
          <p:cNvPr id="209" name="Rectangle 26"/>
          <p:cNvSpPr>
            <a:spLocks noChangeArrowheads="1"/>
          </p:cNvSpPr>
          <p:nvPr/>
        </p:nvSpPr>
        <p:spPr bwMode="auto">
          <a:xfrm flipV="1">
            <a:off x="5508909" y="1518683"/>
            <a:ext cx="558613" cy="1240185"/>
          </a:xfrm>
          <a:prstGeom prst="rect">
            <a:avLst/>
          </a:prstGeom>
          <a:solidFill>
            <a:schemeClr val="accent6"/>
          </a:solidFill>
          <a:ln w="9525">
            <a:solidFill>
              <a:srgbClr val="29282E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14" b="0" i="0" u="none" strike="noStrike" kern="0" cap="none" spc="0" normalizeH="0" baseline="0" noProof="0">
              <a:ln>
                <a:noFill/>
              </a:ln>
              <a:solidFill>
                <a:srgbClr val="002664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10" name="Rectangle 27"/>
          <p:cNvSpPr>
            <a:spLocks noChangeArrowheads="1"/>
          </p:cNvSpPr>
          <p:nvPr/>
        </p:nvSpPr>
        <p:spPr bwMode="auto">
          <a:xfrm flipV="1">
            <a:off x="6058814" y="2091388"/>
            <a:ext cx="1146653" cy="667475"/>
          </a:xfrm>
          <a:prstGeom prst="rect">
            <a:avLst/>
          </a:prstGeom>
          <a:solidFill>
            <a:schemeClr val="accent1"/>
          </a:solidFill>
          <a:ln w="9525">
            <a:solidFill>
              <a:srgbClr val="29282E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14" b="0" i="0" u="none" strike="noStrike" kern="0" cap="none" spc="0" normalizeH="0" baseline="0" noProof="0">
              <a:ln>
                <a:noFill/>
              </a:ln>
              <a:solidFill>
                <a:srgbClr val="002664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11" name="Text Box 28"/>
          <p:cNvSpPr txBox="1">
            <a:spLocks noChangeArrowheads="1"/>
          </p:cNvSpPr>
          <p:nvPr/>
        </p:nvSpPr>
        <p:spPr bwMode="auto">
          <a:xfrm>
            <a:off x="5532037" y="1193594"/>
            <a:ext cx="535485" cy="2539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1pPr>
            <a:lvl2pPr marL="742950" indent="-28575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2pPr>
            <a:lvl3pPr marL="11430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3pPr>
            <a:lvl4pPr marL="16002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4pPr>
            <a:lvl5pPr marL="20574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9pPr>
          </a:lstStyle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ＭＳ Ｐゴシック" pitchFamily="-128" charset="-128"/>
              </a:rPr>
              <a:t>Intia</a:t>
            </a:r>
          </a:p>
        </p:txBody>
      </p:sp>
      <p:sp>
        <p:nvSpPr>
          <p:cNvPr id="212" name="Rectangle 30"/>
          <p:cNvSpPr>
            <a:spLocks noChangeArrowheads="1"/>
          </p:cNvSpPr>
          <p:nvPr/>
        </p:nvSpPr>
        <p:spPr bwMode="auto">
          <a:xfrm>
            <a:off x="3327348" y="2772509"/>
            <a:ext cx="198710" cy="1287696"/>
          </a:xfrm>
          <a:prstGeom prst="rect">
            <a:avLst/>
          </a:prstGeom>
          <a:solidFill>
            <a:schemeClr val="accent2"/>
          </a:solidFill>
          <a:ln w="9525">
            <a:solidFill>
              <a:srgbClr val="29282E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14" b="0" i="0" u="none" strike="noStrike" kern="0" cap="none" spc="0" normalizeH="0" baseline="0" noProof="0" dirty="0">
              <a:ln>
                <a:noFill/>
              </a:ln>
              <a:solidFill>
                <a:srgbClr val="002664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13" name="Text Box 31"/>
          <p:cNvSpPr txBox="1">
            <a:spLocks noChangeArrowheads="1"/>
          </p:cNvSpPr>
          <p:nvPr/>
        </p:nvSpPr>
        <p:spPr bwMode="auto">
          <a:xfrm>
            <a:off x="6197228" y="1810788"/>
            <a:ext cx="767014" cy="2806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1pPr>
            <a:lvl2pPr marL="742950" indent="-28575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2pPr>
            <a:lvl3pPr marL="11430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3pPr>
            <a:lvl4pPr marL="16002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4pPr>
            <a:lvl5pPr marL="20574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9pPr>
          </a:lstStyle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209" b="0" i="0" u="none" strike="noStrike" kern="0" cap="none" spc="0" normalizeH="0" baseline="0" noProof="0">
              <a:ln>
                <a:noFill/>
              </a:ln>
              <a:solidFill>
                <a:srgbClr val="002664"/>
              </a:solidFill>
              <a:effectLst/>
              <a:uLnTx/>
              <a:uFillTx/>
              <a:latin typeface="Arial" charset="0"/>
              <a:ea typeface="ＭＳ Ｐゴシック" pitchFamily="-128" charset="-128"/>
            </a:endParaRPr>
          </a:p>
        </p:txBody>
      </p:sp>
      <p:sp>
        <p:nvSpPr>
          <p:cNvPr id="214" name="Rectangle 32"/>
          <p:cNvSpPr>
            <a:spLocks noChangeArrowheads="1"/>
          </p:cNvSpPr>
          <p:nvPr/>
        </p:nvSpPr>
        <p:spPr bwMode="auto">
          <a:xfrm>
            <a:off x="3526056" y="2345813"/>
            <a:ext cx="320779" cy="41756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rgbClr val="29282E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14" b="0" i="0" u="none" strike="noStrike" kern="0" cap="none" spc="0" normalizeH="0" baseline="0" noProof="0">
              <a:ln>
                <a:noFill/>
              </a:ln>
              <a:solidFill>
                <a:srgbClr val="002664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15" name="Text Box 33"/>
          <p:cNvSpPr txBox="1">
            <a:spLocks noChangeArrowheads="1"/>
          </p:cNvSpPr>
          <p:nvPr/>
        </p:nvSpPr>
        <p:spPr bwMode="auto">
          <a:xfrm rot="-5400000">
            <a:off x="3238457" y="1582682"/>
            <a:ext cx="895431" cy="415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1pPr>
            <a:lvl2pPr marL="742950" indent="-28575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2pPr>
            <a:lvl3pPr marL="11430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3pPr>
            <a:lvl4pPr marL="16002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4pPr>
            <a:lvl5pPr marL="20574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9pPr>
          </a:lstStyle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ＭＳ Ｐゴシック" pitchFamily="-128" charset="-128"/>
              </a:rPr>
              <a:t>Muu it. Eurooppa </a:t>
            </a:r>
          </a:p>
        </p:txBody>
      </p:sp>
      <p:sp>
        <p:nvSpPr>
          <p:cNvPr id="216" name="Rectangle 34"/>
          <p:cNvSpPr>
            <a:spLocks noChangeArrowheads="1"/>
          </p:cNvSpPr>
          <p:nvPr/>
        </p:nvSpPr>
        <p:spPr bwMode="auto">
          <a:xfrm>
            <a:off x="7217643" y="2634556"/>
            <a:ext cx="152497" cy="138349"/>
          </a:xfrm>
          <a:prstGeom prst="rect">
            <a:avLst/>
          </a:prstGeom>
          <a:solidFill>
            <a:schemeClr val="accent3"/>
          </a:solidFill>
          <a:ln w="9525">
            <a:solidFill>
              <a:srgbClr val="29282E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14" b="0" i="0" u="none" strike="noStrike" kern="0" cap="none" spc="0" normalizeH="0" baseline="0" noProof="0">
              <a:ln>
                <a:noFill/>
              </a:ln>
              <a:solidFill>
                <a:srgbClr val="002664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17" name="Rectangle 35"/>
          <p:cNvSpPr>
            <a:spLocks noChangeArrowheads="1"/>
          </p:cNvSpPr>
          <p:nvPr/>
        </p:nvSpPr>
        <p:spPr bwMode="auto">
          <a:xfrm flipV="1">
            <a:off x="7365362" y="2483628"/>
            <a:ext cx="124811" cy="289274"/>
          </a:xfrm>
          <a:prstGeom prst="rect">
            <a:avLst/>
          </a:prstGeom>
          <a:solidFill>
            <a:schemeClr val="accent6">
              <a:lumMod val="75000"/>
            </a:schemeClr>
          </a:solidFill>
          <a:ln w="9525">
            <a:solidFill>
              <a:srgbClr val="29282E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14" b="0" i="0" u="none" strike="noStrike" kern="0" cap="none" spc="0" normalizeH="0" baseline="0" noProof="0">
              <a:ln>
                <a:noFill/>
              </a:ln>
              <a:solidFill>
                <a:srgbClr val="002664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18" name="Rectangle 36"/>
          <p:cNvSpPr>
            <a:spLocks noChangeArrowheads="1"/>
          </p:cNvSpPr>
          <p:nvPr/>
        </p:nvSpPr>
        <p:spPr bwMode="auto">
          <a:xfrm>
            <a:off x="7494828" y="2233830"/>
            <a:ext cx="253916" cy="53262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rgbClr val="29282E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14" b="0" i="0" u="none" strike="noStrike" kern="0" cap="none" spc="0" normalizeH="0" baseline="0" noProof="0">
              <a:ln>
                <a:noFill/>
              </a:ln>
              <a:solidFill>
                <a:srgbClr val="002664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19" name="Rectangle 38"/>
          <p:cNvSpPr>
            <a:spLocks noChangeArrowheads="1"/>
          </p:cNvSpPr>
          <p:nvPr/>
        </p:nvSpPr>
        <p:spPr bwMode="auto">
          <a:xfrm>
            <a:off x="7731235" y="2179729"/>
            <a:ext cx="706003" cy="5856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29282E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14" b="0" i="0" u="none" strike="noStrike" kern="0" cap="none" spc="0" normalizeH="0" baseline="0" noProof="0">
              <a:ln>
                <a:noFill/>
              </a:ln>
              <a:solidFill>
                <a:srgbClr val="002664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20" name="Text Box 40"/>
          <p:cNvSpPr txBox="1">
            <a:spLocks noChangeArrowheads="1"/>
          </p:cNvSpPr>
          <p:nvPr/>
        </p:nvSpPr>
        <p:spPr bwMode="auto">
          <a:xfrm rot="-5400000">
            <a:off x="3050907" y="2311433"/>
            <a:ext cx="734723" cy="2784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1pPr>
            <a:lvl2pPr marL="742950" indent="-28575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2pPr>
            <a:lvl3pPr marL="11430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3pPr>
            <a:lvl4pPr marL="16002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4pPr>
            <a:lvl5pPr marL="20574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9pPr>
          </a:lstStyle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ＭＳ Ｐゴシック" pitchFamily="-128" charset="-128"/>
              </a:rPr>
              <a:t>Venäjä</a:t>
            </a:r>
            <a:r>
              <a:rPr kumimoji="0" lang="fi-FI" sz="1209" b="1" i="0" u="none" strike="noStrike" kern="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 charset="0"/>
                <a:ea typeface="ＭＳ Ｐゴシック" pitchFamily="-128" charset="-128"/>
              </a:rPr>
              <a:t> </a:t>
            </a:r>
            <a:endParaRPr kumimoji="0" lang="fi-FI" sz="1209" b="0" i="0" u="none" strike="noStrike" kern="0" cap="none" spc="0" normalizeH="0" baseline="0" noProof="0" dirty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Arial" charset="0"/>
              <a:ea typeface="ＭＳ Ｐゴシック" pitchFamily="-128" charset="-128"/>
            </a:endParaRPr>
          </a:p>
        </p:txBody>
      </p:sp>
      <p:sp>
        <p:nvSpPr>
          <p:cNvPr id="221" name="Text Box 41"/>
          <p:cNvSpPr txBox="1">
            <a:spLocks noChangeArrowheads="1"/>
          </p:cNvSpPr>
          <p:nvPr/>
        </p:nvSpPr>
        <p:spPr bwMode="auto">
          <a:xfrm rot="-5400000">
            <a:off x="6922707" y="1722619"/>
            <a:ext cx="720069" cy="2784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1pPr>
            <a:lvl2pPr marL="742950" indent="-28575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2pPr>
            <a:lvl3pPr marL="11430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3pPr>
            <a:lvl4pPr marL="16002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4pPr>
            <a:lvl5pPr marL="20574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9pPr>
          </a:lstStyle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ＭＳ Ｐゴシック" pitchFamily="-128" charset="-128"/>
              </a:rPr>
              <a:t>Brasilia</a:t>
            </a:r>
            <a:r>
              <a:rPr kumimoji="0" lang="fi-FI" sz="1209" b="0" i="0" u="none" strike="noStrike" kern="0" cap="none" spc="0" normalizeH="0" baseline="0" noProof="0" dirty="0">
                <a:ln>
                  <a:noFill/>
                </a:ln>
                <a:solidFill>
                  <a:srgbClr val="83A00C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charset="0"/>
                <a:ea typeface="ＭＳ Ｐゴシック" pitchFamily="-128" charset="-128"/>
              </a:rPr>
              <a:t> </a:t>
            </a:r>
          </a:p>
        </p:txBody>
      </p:sp>
      <p:sp>
        <p:nvSpPr>
          <p:cNvPr id="222" name="Text Box 42"/>
          <p:cNvSpPr txBox="1">
            <a:spLocks noChangeArrowheads="1"/>
          </p:cNvSpPr>
          <p:nvPr/>
        </p:nvSpPr>
        <p:spPr bwMode="auto">
          <a:xfrm rot="-5400000">
            <a:off x="7050010" y="1732849"/>
            <a:ext cx="738432" cy="2539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1pPr>
            <a:lvl2pPr marL="742950" indent="-28575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2pPr>
            <a:lvl3pPr marL="11430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3pPr>
            <a:lvl4pPr marL="16002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4pPr>
            <a:lvl5pPr marL="20574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9pPr>
          </a:lstStyle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ＭＳ Ｐゴシック" pitchFamily="-128" charset="-128"/>
              </a:rPr>
              <a:t>Meksiko</a:t>
            </a:r>
            <a:r>
              <a:rPr kumimoji="0" lang="fi-FI" sz="105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ＭＳ Ｐゴシック" pitchFamily="-128" charset="-128"/>
              </a:rPr>
              <a:t> </a:t>
            </a:r>
          </a:p>
        </p:txBody>
      </p:sp>
      <p:sp>
        <p:nvSpPr>
          <p:cNvPr id="223" name="Text Box 43"/>
          <p:cNvSpPr txBox="1">
            <a:spLocks noChangeArrowheads="1"/>
          </p:cNvSpPr>
          <p:nvPr/>
        </p:nvSpPr>
        <p:spPr bwMode="auto">
          <a:xfrm rot="-5400000">
            <a:off x="7031865" y="1533072"/>
            <a:ext cx="1145368" cy="2539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1pPr>
            <a:lvl2pPr marL="742950" indent="-28575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2pPr>
            <a:lvl3pPr marL="11430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3pPr>
            <a:lvl4pPr marL="16002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4pPr>
            <a:lvl5pPr marL="20574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9pPr>
          </a:lstStyle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ＭＳ Ｐゴシック" pitchFamily="-128" charset="-128"/>
              </a:rPr>
              <a:t>Muu Lat. Am. </a:t>
            </a:r>
          </a:p>
        </p:txBody>
      </p:sp>
      <p:sp>
        <p:nvSpPr>
          <p:cNvPr id="224" name="Text Box 44"/>
          <p:cNvSpPr txBox="1">
            <a:spLocks noChangeArrowheads="1"/>
          </p:cNvSpPr>
          <p:nvPr/>
        </p:nvSpPr>
        <p:spPr bwMode="auto">
          <a:xfrm rot="-5400000">
            <a:off x="7680544" y="1559404"/>
            <a:ext cx="867545" cy="415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1pPr>
            <a:lvl2pPr marL="742950" indent="-28575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2pPr>
            <a:lvl3pPr marL="11430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3pPr>
            <a:lvl4pPr marL="16002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4pPr>
            <a:lvl5pPr marL="20574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9pPr>
          </a:lstStyle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+mj-lt"/>
                <a:ea typeface="ＭＳ Ｐゴシック" pitchFamily="-128" charset="-128"/>
              </a:rPr>
              <a:t>Lähi-itä</a:t>
            </a:r>
            <a:r>
              <a:rPr kumimoji="0" lang="fi-FI" sz="105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ＭＳ Ｐゴシック" pitchFamily="-128" charset="-128"/>
              </a:rPr>
              <a:t> ja</a:t>
            </a:r>
          </a:p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ＭＳ Ｐゴシック" pitchFamily="-128" charset="-128"/>
              </a:rPr>
              <a:t> Afrikka </a:t>
            </a:r>
          </a:p>
        </p:txBody>
      </p:sp>
      <p:sp>
        <p:nvSpPr>
          <p:cNvPr id="225" name="Text Box 48"/>
          <p:cNvSpPr txBox="1">
            <a:spLocks noChangeArrowheads="1"/>
          </p:cNvSpPr>
          <p:nvPr/>
        </p:nvSpPr>
        <p:spPr bwMode="auto">
          <a:xfrm>
            <a:off x="1695038" y="1326102"/>
            <a:ext cx="1626819" cy="415498"/>
          </a:xfrm>
          <a:prstGeom prst="rect">
            <a:avLst/>
          </a:prstGeom>
          <a:noFill/>
          <a:ln w="9525" algn="ctr">
            <a:solidFill>
              <a:srgbClr val="B1BEB9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1pPr>
            <a:lvl2pPr marL="742950" indent="-28575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2pPr>
            <a:lvl3pPr marL="11430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3pPr>
            <a:lvl4pPr marL="16002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4pPr>
            <a:lvl5pPr marL="20574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9pPr>
          </a:lstStyle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ＭＳ Ｐゴシック" pitchFamily="-128" charset="-128"/>
              </a:rPr>
              <a:t>Kasvu keskimäärin: </a:t>
            </a:r>
          </a:p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ＭＳ Ｐゴシック" pitchFamily="-128" charset="-128"/>
              </a:rPr>
              <a:t>+3,6 %</a:t>
            </a:r>
          </a:p>
        </p:txBody>
      </p:sp>
      <p:sp>
        <p:nvSpPr>
          <p:cNvPr id="226" name="Line 49"/>
          <p:cNvSpPr>
            <a:spLocks noChangeShapeType="1"/>
          </p:cNvSpPr>
          <p:nvPr/>
        </p:nvSpPr>
        <p:spPr bwMode="auto">
          <a:xfrm>
            <a:off x="845462" y="2233117"/>
            <a:ext cx="7622874" cy="23675"/>
          </a:xfrm>
          <a:prstGeom prst="line">
            <a:avLst/>
          </a:prstGeom>
          <a:noFill/>
          <a:ln w="31750">
            <a:solidFill>
              <a:srgbClr val="00206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defTabSz="914069"/>
            <a:endParaRPr lang="fi-FI" sz="1814" dirty="0">
              <a:solidFill>
                <a:srgbClr val="002664"/>
              </a:solidFill>
              <a:latin typeface="Arial"/>
            </a:endParaRPr>
          </a:p>
        </p:txBody>
      </p:sp>
      <p:sp>
        <p:nvSpPr>
          <p:cNvPr id="229" name="Text Box 46"/>
          <p:cNvSpPr txBox="1">
            <a:spLocks noChangeArrowheads="1"/>
          </p:cNvSpPr>
          <p:nvPr/>
        </p:nvSpPr>
        <p:spPr bwMode="auto">
          <a:xfrm>
            <a:off x="1301372" y="4515403"/>
            <a:ext cx="7096815" cy="2539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1pPr>
            <a:lvl2pPr marL="742950" indent="-28575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2pPr>
            <a:lvl3pPr marL="11430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3pPr>
            <a:lvl4pPr marL="16002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4pPr>
            <a:lvl5pPr marL="20574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9pPr>
          </a:lstStyle>
          <a:p>
            <a:r>
              <a:rPr lang="fi-FI" sz="1050" dirty="0">
                <a:latin typeface="+mj-lt"/>
              </a:rPr>
              <a:t>Pylvään leveys kuvaa osuutta (ostovoimapariteetilla korjatusta) maailman bkt:stä vuonna 2021, %</a:t>
            </a:r>
          </a:p>
        </p:txBody>
      </p:sp>
      <p:sp>
        <p:nvSpPr>
          <p:cNvPr id="231" name="Text Box 29"/>
          <p:cNvSpPr txBox="1">
            <a:spLocks noChangeArrowheads="1"/>
          </p:cNvSpPr>
          <p:nvPr/>
        </p:nvSpPr>
        <p:spPr bwMode="auto">
          <a:xfrm>
            <a:off x="6360270" y="1652058"/>
            <a:ext cx="543739" cy="415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1pPr>
            <a:lvl2pPr marL="742950" indent="-28575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2pPr>
            <a:lvl3pPr marL="11430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3pPr>
            <a:lvl4pPr marL="16002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4pPr>
            <a:lvl5pPr marL="20574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9pPr>
          </a:lstStyle>
          <a:p>
            <a:r>
              <a:rPr lang="fi-FI" sz="1050" dirty="0">
                <a:latin typeface="Verdana" panose="020B0604030504040204" pitchFamily="34" charset="0"/>
              </a:rPr>
              <a:t>Muu </a:t>
            </a:r>
          </a:p>
          <a:p>
            <a:r>
              <a:rPr lang="fi-FI" sz="1050" dirty="0">
                <a:latin typeface="Verdana" panose="020B0604030504040204" pitchFamily="34" charset="0"/>
              </a:rPr>
              <a:t>Aasia</a:t>
            </a:r>
          </a:p>
        </p:txBody>
      </p:sp>
      <p:cxnSp>
        <p:nvCxnSpPr>
          <p:cNvPr id="37" name="Suora nuoliyhdysviiva 36">
            <a:extLst>
              <a:ext uri="{FF2B5EF4-FFF2-40B4-BE49-F238E27FC236}">
                <a16:creationId xmlns:a16="http://schemas.microsoft.com/office/drawing/2014/main" id="{EBB6C045-2B33-4E5B-8543-870CE60FA6D0}"/>
              </a:ext>
            </a:extLst>
          </p:cNvPr>
          <p:cNvCxnSpPr>
            <a:cxnSpLocks/>
          </p:cNvCxnSpPr>
          <p:nvPr/>
        </p:nvCxnSpPr>
        <p:spPr bwMode="auto">
          <a:xfrm>
            <a:off x="3213482" y="1622637"/>
            <a:ext cx="154337" cy="587964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098896778"/>
      </p:ext>
    </p:extLst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81FD0014-CD75-481A-A3A6-860DE62B96C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52000" y="282150"/>
            <a:ext cx="7992000" cy="732540"/>
          </a:xfrm>
        </p:spPr>
        <p:txBody>
          <a:bodyPr/>
          <a:lstStyle/>
          <a:p>
            <a:r>
              <a:rPr lang="fi-FI" dirty="0"/>
              <a:t>Euroalueella kasvu jatkuu palvelusektorin vetämänä sodasta huolimatta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159947D8-4933-4C79-B13B-2B0DD9B3A6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4</a:t>
            </a:fld>
            <a:endParaRPr lang="fi-FI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F2181966-A4FD-459E-9691-D2CACC2174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2.5.2022</a:t>
            </a:fld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AB76D70A-5CCE-47AB-A1F9-7E45D8A0B7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</a:p>
        </p:txBody>
      </p:sp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A550D66C-AA58-4B32-9253-8DB410D4438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i-FI"/>
              <a:t>Lähde: </a:t>
            </a:r>
            <a:r>
              <a:rPr lang="fi-FI" err="1"/>
              <a:t>Macrobond</a:t>
            </a:r>
            <a:r>
              <a:rPr lang="fi-FI"/>
              <a:t>, Markit</a:t>
            </a:r>
          </a:p>
        </p:txBody>
      </p:sp>
      <p:graphicFrame>
        <p:nvGraphicFramePr>
          <p:cNvPr id="21" name="Sisällön paikkamerkki 20">
            <a:extLst>
              <a:ext uri="{FF2B5EF4-FFF2-40B4-BE49-F238E27FC236}">
                <a16:creationId xmlns:a16="http://schemas.microsoft.com/office/drawing/2014/main" id="{C36236B9-A7A2-4CEC-91F2-B85001D7E06D}"/>
              </a:ext>
            </a:extLst>
          </p:cNvPr>
          <p:cNvGraphicFramePr>
            <a:graphicFrameLocks noGrp="1" noChangeAspect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185768975"/>
              </p:ext>
            </p:extLst>
          </p:nvPr>
        </p:nvGraphicFramePr>
        <p:xfrm>
          <a:off x="392113" y="1114425"/>
          <a:ext cx="8316912" cy="35131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3" imgW="13193184" imgH="5572640" progId="Mbnd.mbnd">
                  <p:embed/>
                </p:oleObj>
              </mc:Choice>
              <mc:Fallback>
                <p:oleObj name="Macrobond document" r:id="rId3" imgW="13193184" imgH="5572640" progId="Mbnd.mbnd">
                  <p:embed/>
                  <p:pic>
                    <p:nvPicPr>
                      <p:cNvPr id="21" name="Sisällön paikkamerkki 20">
                        <a:extLst>
                          <a:ext uri="{FF2B5EF4-FFF2-40B4-BE49-F238E27FC236}">
                            <a16:creationId xmlns:a16="http://schemas.microsoft.com/office/drawing/2014/main" id="{C36236B9-A7A2-4CEC-91F2-B85001D7E0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92113" y="1114425"/>
                        <a:ext cx="8316912" cy="35131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25428389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81FD0014-CD75-481A-A3A6-860DE62B96C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52000" y="282150"/>
            <a:ext cx="7992000" cy="732540"/>
          </a:xfrm>
        </p:spPr>
        <p:txBody>
          <a:bodyPr/>
          <a:lstStyle/>
          <a:p>
            <a:r>
              <a:rPr lang="fi-FI" dirty="0"/>
              <a:t>Teollisuudessa tilanne ja näkymät heikentyneet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159947D8-4933-4C79-B13B-2B0DD9B3A6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5</a:t>
            </a:fld>
            <a:endParaRPr lang="fi-FI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F2181966-A4FD-459E-9691-D2CACC2174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2.5.2022</a:t>
            </a:fld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AB76D70A-5CCE-47AB-A1F9-7E45D8A0B7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</a:p>
        </p:txBody>
      </p:sp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A550D66C-AA58-4B32-9253-8DB410D4438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i-FI"/>
              <a:t>Lähde: </a:t>
            </a:r>
            <a:r>
              <a:rPr lang="fi-FI" err="1"/>
              <a:t>Macrobond</a:t>
            </a:r>
            <a:r>
              <a:rPr lang="fi-FI"/>
              <a:t>, Markit</a:t>
            </a:r>
          </a:p>
        </p:txBody>
      </p:sp>
      <p:graphicFrame>
        <p:nvGraphicFramePr>
          <p:cNvPr id="21" name="Sisällön paikkamerkki 20">
            <a:extLst>
              <a:ext uri="{FF2B5EF4-FFF2-40B4-BE49-F238E27FC236}">
                <a16:creationId xmlns:a16="http://schemas.microsoft.com/office/drawing/2014/main" id="{C36236B9-A7A2-4CEC-91F2-B85001D7E06D}"/>
              </a:ext>
            </a:extLst>
          </p:cNvPr>
          <p:cNvGraphicFramePr>
            <a:graphicFrameLocks noGrp="1" noChangeAspect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1217386020"/>
              </p:ext>
            </p:extLst>
          </p:nvPr>
        </p:nvGraphicFramePr>
        <p:xfrm>
          <a:off x="384175" y="1111250"/>
          <a:ext cx="8334375" cy="35194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3" imgW="13193184" imgH="5572640" progId="Mbnd.mbnd">
                  <p:embed/>
                </p:oleObj>
              </mc:Choice>
              <mc:Fallback>
                <p:oleObj name="Macrobond document" r:id="rId3" imgW="13193184" imgH="5572640" progId="Mbnd.mbnd">
                  <p:embed/>
                  <p:pic>
                    <p:nvPicPr>
                      <p:cNvPr id="21" name="Sisällön paikkamerkki 20">
                        <a:extLst>
                          <a:ext uri="{FF2B5EF4-FFF2-40B4-BE49-F238E27FC236}">
                            <a16:creationId xmlns:a16="http://schemas.microsoft.com/office/drawing/2014/main" id="{C36236B9-A7A2-4CEC-91F2-B85001D7E0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84175" y="1111250"/>
                        <a:ext cx="8334375" cy="35194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46628839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053B2C28-B533-40BB-9D98-242EA915384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 dirty="0"/>
              <a:t>Inflaatio kiihtyy sodan seurauksena, mutta kiihtyminen jäänee väliaikaiseksi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52C80422-E0FD-409E-9017-E99E1B4111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6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3FC9ADC7-8A1F-4E33-B4D8-4623F3C65D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16712E31-1AE6-42A3-9E82-A2546CC29E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C7469995-7490-48CF-B681-A5277EEA085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i-FI" dirty="0"/>
              <a:t>Lähde: Tilastokeskus</a:t>
            </a:r>
          </a:p>
        </p:txBody>
      </p:sp>
      <p:graphicFrame>
        <p:nvGraphicFramePr>
          <p:cNvPr id="9" name="Sisällön paikkamerkki 8">
            <a:extLst>
              <a:ext uri="{FF2B5EF4-FFF2-40B4-BE49-F238E27FC236}">
                <a16:creationId xmlns:a16="http://schemas.microsoft.com/office/drawing/2014/main" id="{9DFCA4FC-36D0-430D-9EB7-E19A73129D6F}"/>
              </a:ext>
            </a:extLst>
          </p:cNvPr>
          <p:cNvGraphicFramePr>
            <a:graphicFrameLocks noGrp="1" noChangeAspect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1279646763"/>
              </p:ext>
            </p:extLst>
          </p:nvPr>
        </p:nvGraphicFramePr>
        <p:xfrm>
          <a:off x="383718" y="1103313"/>
          <a:ext cx="8386088" cy="35417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13193184" imgH="5572640" progId="Mbnd.mbnd">
                  <p:embed/>
                </p:oleObj>
              </mc:Choice>
              <mc:Fallback>
                <p:oleObj name="Macrobond document" r:id="rId2" imgW="13193184" imgH="5572640" progId="Mbnd.mbnd">
                  <p:embed/>
                  <p:pic>
                    <p:nvPicPr>
                      <p:cNvPr id="9" name="Sisällön paikkamerkki 8">
                        <a:extLst>
                          <a:ext uri="{FF2B5EF4-FFF2-40B4-BE49-F238E27FC236}">
                            <a16:creationId xmlns:a16="http://schemas.microsoft.com/office/drawing/2014/main" id="{9DFCA4FC-36D0-430D-9EB7-E19A73129D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383718" y="1103313"/>
                        <a:ext cx="8386088" cy="35417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93162908"/>
      </p:ext>
    </p:extLst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6D71FA78-45DA-444E-B95C-6972AD3A6A9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 dirty="0"/>
              <a:t>Raaka-aineiden hinnat rajussa nousussa sodan seurauksena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B20A0A94-235D-4AE1-9144-27AF6FC5BE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7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89BE2ECE-6FA4-49B9-965F-F18F53AED6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C41B7670-26D3-4A4C-A69C-709CA10098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A6B857E3-EBDF-43EF-8AB0-AB8196AA2E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334682" y="4727574"/>
            <a:ext cx="5189646" cy="364456"/>
          </a:xfrm>
        </p:spPr>
        <p:txBody>
          <a:bodyPr/>
          <a:lstStyle/>
          <a:p>
            <a:r>
              <a:rPr lang="fi-FI" dirty="0"/>
              <a:t>Euroalueen raaka-aineiden hintakehitystä (ml. energia) kuvaava indeksi (HWWI </a:t>
            </a:r>
            <a:r>
              <a:rPr lang="fi-FI" dirty="0" err="1"/>
              <a:t>Commodity</a:t>
            </a:r>
            <a:r>
              <a:rPr lang="fi-FI" dirty="0"/>
              <a:t> Price Index).</a:t>
            </a:r>
          </a:p>
          <a:p>
            <a:r>
              <a:rPr lang="fi-FI" dirty="0"/>
              <a:t>Lähde: </a:t>
            </a:r>
            <a:r>
              <a:rPr lang="en-US" dirty="0"/>
              <a:t>Hamburg Institute of International Economics (HWWI), </a:t>
            </a:r>
            <a:r>
              <a:rPr lang="en-US" dirty="0" err="1"/>
              <a:t>Macrobond</a:t>
            </a:r>
            <a:r>
              <a:rPr lang="en-US" dirty="0"/>
              <a:t>.</a:t>
            </a:r>
          </a:p>
          <a:p>
            <a:endParaRPr lang="fi-FI" dirty="0"/>
          </a:p>
        </p:txBody>
      </p:sp>
      <p:graphicFrame>
        <p:nvGraphicFramePr>
          <p:cNvPr id="13" name="Sisällön paikkamerkki 12">
            <a:extLst>
              <a:ext uri="{FF2B5EF4-FFF2-40B4-BE49-F238E27FC236}">
                <a16:creationId xmlns:a16="http://schemas.microsoft.com/office/drawing/2014/main" id="{8A41E179-853E-437F-8061-7EB9E02044CA}"/>
              </a:ext>
            </a:extLst>
          </p:cNvPr>
          <p:cNvGraphicFramePr>
            <a:graphicFrameLocks noGrp="1" noChangeAspect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2382350287"/>
              </p:ext>
            </p:extLst>
          </p:nvPr>
        </p:nvGraphicFramePr>
        <p:xfrm>
          <a:off x="383718" y="1103313"/>
          <a:ext cx="8386088" cy="35417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13193184" imgH="5572640" progId="Mbnd.mbnd">
                  <p:embed/>
                </p:oleObj>
              </mc:Choice>
              <mc:Fallback>
                <p:oleObj name="Macrobond document" r:id="rId2" imgW="13193184" imgH="5572640" progId="Mbnd.mbnd">
                  <p:embed/>
                  <p:pic>
                    <p:nvPicPr>
                      <p:cNvPr id="13" name="Sisällön paikkamerkki 12">
                        <a:extLst>
                          <a:ext uri="{FF2B5EF4-FFF2-40B4-BE49-F238E27FC236}">
                            <a16:creationId xmlns:a16="http://schemas.microsoft.com/office/drawing/2014/main" id="{8A41E179-853E-437F-8061-7EB9E02044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383718" y="1103313"/>
                        <a:ext cx="8386088" cy="35417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81929666"/>
      </p:ext>
    </p:extLst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4BB0440D-C81A-46A2-A992-15D38EB509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6659" y="302182"/>
            <a:ext cx="7935794" cy="4425865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fi-FI" dirty="0"/>
              <a:t>Venäjän hyökkäyksen vaikutukset suomalaiseen teknologiateollisuuteen vielä toistaiseksi pelättyä pienemmät</a:t>
            </a:r>
            <a:endParaRPr lang="fi-FI" sz="2000" dirty="0"/>
          </a:p>
          <a:p>
            <a:pPr>
              <a:lnSpc>
                <a:spcPct val="100000"/>
              </a:lnSpc>
            </a:pPr>
            <a:endParaRPr lang="fi-FI" sz="2000" dirty="0"/>
          </a:p>
          <a:p>
            <a:pPr marL="3537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600" dirty="0"/>
              <a:t>Huolet ja epävarmuus kuitenkin kasvaneet merkittävästi.</a:t>
            </a:r>
          </a:p>
          <a:p>
            <a:pPr>
              <a:lnSpc>
                <a:spcPct val="100000"/>
              </a:lnSpc>
            </a:pPr>
            <a:endParaRPr lang="fi-FI" sz="1600" dirty="0">
              <a:solidFill>
                <a:schemeClr val="bg1"/>
              </a:solidFill>
            </a:endParaRPr>
          </a:p>
          <a:p>
            <a:pPr marL="3537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600" dirty="0">
                <a:solidFill>
                  <a:schemeClr val="bg1"/>
                </a:solidFill>
              </a:rPr>
              <a:t>Lähes jokaisen teollisuusyrityksen toiminta vaikeutuu materiaalien saatavuuden heikentymisen ja volatiilin hintakehityksen takia.</a:t>
            </a:r>
          </a:p>
          <a:p>
            <a:pPr marL="3537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fi-FI" sz="1200" dirty="0">
              <a:solidFill>
                <a:schemeClr val="bg1"/>
              </a:solidFill>
            </a:endParaRPr>
          </a:p>
          <a:p>
            <a:pPr marL="3537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600" dirty="0"/>
              <a:t>Lähes 60 % teollisista yrityksistä arvioi kannattavuutensa heikkenevän tänä vuonna.</a:t>
            </a:r>
          </a:p>
          <a:p>
            <a:pPr>
              <a:lnSpc>
                <a:spcPct val="100000"/>
              </a:lnSpc>
            </a:pPr>
            <a:endParaRPr lang="fi-FI" sz="1600" dirty="0"/>
          </a:p>
          <a:p>
            <a:pPr marL="3537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600" dirty="0"/>
              <a:t>Yritysten väliset erot valtavia.</a:t>
            </a:r>
          </a:p>
          <a:p>
            <a:pPr marL="3537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fi-FI" sz="1600" dirty="0"/>
          </a:p>
          <a:p>
            <a:pPr marL="3537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600" dirty="0"/>
              <a:t>Kysyntätilanne markkinoilla jatkui kohtuullisena – tarjouspyyntöjä liikkeellä huhtikuussa vielä hyvin, mutta vähemmän kuin aiemmin.</a:t>
            </a:r>
          </a:p>
          <a:p>
            <a:pPr>
              <a:lnSpc>
                <a:spcPct val="100000"/>
              </a:lnSpc>
            </a:pPr>
            <a:endParaRPr lang="fi-FI" sz="1800" dirty="0"/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9FB9D53A-29BA-4917-A69D-C33A4A7289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8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D22D1770-AB6E-4312-B195-7F88B9AFA1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A50D0A-99B9-48FE-8B08-047EE10ADBDA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58AADB30-7758-4072-A27D-92205D0172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573167509"/>
      </p:ext>
    </p:extLst>
  </p:cSld>
  <p:clrMapOvr>
    <a:masterClrMapping/>
  </p:clrMapOvr>
  <p:transition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F26D6D9D-9502-49B4-B943-3D60C12B85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9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89C90830-A2F7-4E45-AFC7-FBE3F47B91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F0509442-45EE-4410-8716-56E81DDE98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graphicFrame>
        <p:nvGraphicFramePr>
          <p:cNvPr id="10" name="Sisällön paikkamerkki 9">
            <a:extLst>
              <a:ext uri="{FF2B5EF4-FFF2-40B4-BE49-F238E27FC236}">
                <a16:creationId xmlns:a16="http://schemas.microsoft.com/office/drawing/2014/main" id="{8148119C-8720-486B-AD50-E435BB11F8FC}"/>
              </a:ext>
            </a:extLst>
          </p:cNvPr>
          <p:cNvGraphicFramePr>
            <a:graphicFrameLocks noGrp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469529154"/>
              </p:ext>
            </p:extLst>
          </p:nvPr>
        </p:nvGraphicFramePr>
        <p:xfrm>
          <a:off x="381000" y="1103313"/>
          <a:ext cx="8391525" cy="3541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963D92E3-16E8-4D11-AC42-0A09122700F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334682" y="4727574"/>
            <a:ext cx="6341774" cy="364456"/>
          </a:xfrm>
        </p:spPr>
        <p:txBody>
          <a:bodyPr/>
          <a:lstStyle/>
          <a:p>
            <a:r>
              <a:rPr lang="fi-FI" dirty="0"/>
              <a:t>Lähde: jäsenkysely, huhtikuu 2022</a:t>
            </a:r>
          </a:p>
          <a:p>
            <a:r>
              <a:rPr lang="fi-FI" dirty="0"/>
              <a:t>Vastausten lukumäärät per ryhmä:</a:t>
            </a:r>
          </a:p>
          <a:p>
            <a:r>
              <a:rPr lang="fi-FI" dirty="0"/>
              <a:t>Kaikki: 580, Teollisuus: 455, Palvelualat: 125, 0-50: 332, 51-250: 186, 251-500: 32, yli 500: 30.</a:t>
            </a:r>
          </a:p>
        </p:txBody>
      </p:sp>
      <p:sp>
        <p:nvSpPr>
          <p:cNvPr id="23" name="Suorakulmio 22">
            <a:extLst>
              <a:ext uri="{FF2B5EF4-FFF2-40B4-BE49-F238E27FC236}">
                <a16:creationId xmlns:a16="http://schemas.microsoft.com/office/drawing/2014/main" id="{A370E4BA-3CD0-4A77-BFE1-E70C19D2ACDE}"/>
              </a:ext>
            </a:extLst>
          </p:cNvPr>
          <p:cNvSpPr/>
          <p:nvPr/>
        </p:nvSpPr>
        <p:spPr bwMode="auto">
          <a:xfrm>
            <a:off x="1971821" y="1275606"/>
            <a:ext cx="2276179" cy="295232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fi-FI" dirty="0"/>
          </a:p>
        </p:txBody>
      </p:sp>
      <p:sp>
        <p:nvSpPr>
          <p:cNvPr id="24" name="Suorakulmio 23">
            <a:extLst>
              <a:ext uri="{FF2B5EF4-FFF2-40B4-BE49-F238E27FC236}">
                <a16:creationId xmlns:a16="http://schemas.microsoft.com/office/drawing/2014/main" id="{691CF4D6-609A-4085-AE15-2AC09775733D}"/>
              </a:ext>
            </a:extLst>
          </p:cNvPr>
          <p:cNvSpPr/>
          <p:nvPr/>
        </p:nvSpPr>
        <p:spPr bwMode="auto">
          <a:xfrm>
            <a:off x="4283968" y="1275606"/>
            <a:ext cx="4320479" cy="295232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fi-FI" dirty="0"/>
          </a:p>
        </p:txBody>
      </p:sp>
      <p:sp>
        <p:nvSpPr>
          <p:cNvPr id="8" name="Tekstin paikkamerkki 7">
            <a:extLst>
              <a:ext uri="{FF2B5EF4-FFF2-40B4-BE49-F238E27FC236}">
                <a16:creationId xmlns:a16="http://schemas.microsoft.com/office/drawing/2014/main" id="{DE43FCFA-03B3-4E72-8FBE-84764C7C5E4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 dirty="0"/>
              <a:t>Yritysten arviot tuotantomäärien kehityksestä ennakoivat kasvun jatkumista</a:t>
            </a:r>
          </a:p>
        </p:txBody>
      </p:sp>
      <p:sp>
        <p:nvSpPr>
          <p:cNvPr id="9" name="Tekstiruutu 8">
            <a:extLst>
              <a:ext uri="{FF2B5EF4-FFF2-40B4-BE49-F238E27FC236}">
                <a16:creationId xmlns:a16="http://schemas.microsoft.com/office/drawing/2014/main" id="{60E4D068-7982-492E-A34F-A0BDC4304977}"/>
              </a:ext>
            </a:extLst>
          </p:cNvPr>
          <p:cNvSpPr txBox="1"/>
          <p:nvPr/>
        </p:nvSpPr>
        <p:spPr>
          <a:xfrm>
            <a:off x="827584" y="1038965"/>
            <a:ext cx="7935416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fi-FI" sz="1050" dirty="0"/>
              <a:t>Tämän hetken paras arviosi yrityksenne tuotantomäärän kehityksestä tänä vuonna viime vuoteen verrattuna?</a:t>
            </a:r>
          </a:p>
        </p:txBody>
      </p:sp>
    </p:spTree>
    <p:extLst>
      <p:ext uri="{BB962C8B-B14F-4D97-AF65-F5344CB8AC3E}">
        <p14:creationId xmlns:p14="http://schemas.microsoft.com/office/powerpoint/2010/main" val="1160989869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jq246uRr.fpeXiHoBEH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FlGw2M3j2W7GeiIxL7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Axy0IjQV2fjaelmglsH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pBvpGTuPPj72SKRj4DH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pBvpGTuPPj72SKRj4DH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Ok4z5ZsIcPyJlOGtPIfg"/>
</p:tagLst>
</file>

<file path=ppt/theme/theme1.xml><?xml version="1.0" encoding="utf-8"?>
<a:theme xmlns:a="http://schemas.openxmlformats.org/drawingml/2006/main" name="Teknologiateollisuus_masterdia">
  <a:themeElements>
    <a:clrScheme name="Teknologiateollisuus">
      <a:dk1>
        <a:srgbClr val="29282E"/>
      </a:dk1>
      <a:lt1>
        <a:srgbClr val="FFFFFF"/>
      </a:lt1>
      <a:dk2>
        <a:srgbClr val="29282E"/>
      </a:dk2>
      <a:lt2>
        <a:srgbClr val="FFFFFF"/>
      </a:lt2>
      <a:accent1>
        <a:srgbClr val="0070C0"/>
      </a:accent1>
      <a:accent2>
        <a:srgbClr val="FF00B8"/>
      </a:accent2>
      <a:accent3>
        <a:srgbClr val="85E869"/>
      </a:accent3>
      <a:accent4>
        <a:srgbClr val="FF805C"/>
      </a:accent4>
      <a:accent5>
        <a:srgbClr val="8A0FA6"/>
      </a:accent5>
      <a:accent6>
        <a:srgbClr val="FFFF00"/>
      </a:accent6>
      <a:hlink>
        <a:srgbClr val="0ACFCF"/>
      </a:hlink>
      <a:folHlink>
        <a:srgbClr val="0ACFCF"/>
      </a:folHlink>
    </a:clrScheme>
    <a:fontScheme name="Teknologiateollisuu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>
          <a:defRPr/>
        </a:defPPr>
      </a:lstStyle>
    </a:spDef>
    <a:lnDef>
      <a:spPr>
        <a:ln w="190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pc="-4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ekno_FI_2016" id="{20EA1341-EE32-433B-BC03-FE23A0136C67}" vid="{91854BC2-7349-49C3-92B6-AE41D831ABA0}"/>
    </a:ext>
  </a:extLst>
</a:theme>
</file>

<file path=ppt/theme/theme2.xml><?xml version="1.0" encoding="utf-8"?>
<a:theme xmlns:a="http://schemas.openxmlformats.org/drawingml/2006/main" name="1_Accenture aug2016">
  <a:themeElements>
    <a:clrScheme name="Custom 8">
      <a:dk1>
        <a:srgbClr val="000000"/>
      </a:dk1>
      <a:lt1>
        <a:srgbClr val="FFFFFF"/>
      </a:lt1>
      <a:dk2>
        <a:srgbClr val="919191"/>
      </a:dk2>
      <a:lt2>
        <a:srgbClr val="FF0000"/>
      </a:lt2>
      <a:accent1>
        <a:srgbClr val="FF9128"/>
      </a:accent1>
      <a:accent2>
        <a:srgbClr val="FE3C0F"/>
      </a:accent2>
      <a:accent3>
        <a:srgbClr val="FF0000"/>
      </a:accent3>
      <a:accent4>
        <a:srgbClr val="BC001D"/>
      </a:accent4>
      <a:accent5>
        <a:srgbClr val="920026"/>
      </a:accent5>
      <a:accent6>
        <a:srgbClr val="710011"/>
      </a:accent6>
      <a:hlink>
        <a:srgbClr val="FF0000"/>
      </a:hlink>
      <a:folHlink>
        <a:srgbClr val="710011"/>
      </a:folHlink>
    </a:clrScheme>
    <a:fontScheme name="Arial Black-Arial">
      <a:majorFont>
        <a:latin typeface="Arial Black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>
            <a:lumMod val="60000"/>
            <a:lumOff val="40000"/>
          </a:schemeClr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/>
      <a:bodyPr vert="horz" wrap="square" lIns="0" tIns="0" rIns="0" bIns="0" rtlCol="0">
        <a:noAutofit/>
      </a:bodyPr>
      <a:lstStyle>
        <a:defPPr>
          <a:defRPr sz="1200" dirty="0" err="1"/>
        </a:defPPr>
      </a:lstStyle>
    </a:txDef>
  </a:objectDefaults>
  <a:extraClrSchemeLst/>
  <a:extLst>
    <a:ext uri="{05A4C25C-085E-4340-85A3-A5531E510DB2}">
      <thm15:themeFamily xmlns:thm15="http://schemas.microsoft.com/office/thememl/2012/main" name="200305 Strategic BD approach for Nordics MU - FOR DISCUSSION - v2  -  Read-Only" id="{AA9A4D4A-1FF2-4B35-AF13-9182F4DAE34F}" vid="{51B938EA-64D2-4EA8-B1E9-1C8E57B71BC1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f4015653-d442-4718-8e0e-140bab151380">
      <UserInfo>
        <DisplayName>Forsman Daniel</DisplayName>
        <AccountId>38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B54E2ACC82FC5948B3BC53EE2688E412" ma:contentTypeVersion="11" ma:contentTypeDescription="Luo uusi asiakirja." ma:contentTypeScope="" ma:versionID="5fda56d5065e715db5d1a84803b3c218">
  <xsd:schema xmlns:xsd="http://www.w3.org/2001/XMLSchema" xmlns:xs="http://www.w3.org/2001/XMLSchema" xmlns:p="http://schemas.microsoft.com/office/2006/metadata/properties" xmlns:ns3="18888a3a-9613-4736-b8cf-f212d38d32e5" xmlns:ns4="f4015653-d442-4718-8e0e-140bab151380" targetNamespace="http://schemas.microsoft.com/office/2006/metadata/properties" ma:root="true" ma:fieldsID="03e223eeee9631e49b4eb743440104a7" ns3:_="" ns4:_="">
    <xsd:import namespace="18888a3a-9613-4736-b8cf-f212d38d32e5"/>
    <xsd:import namespace="f4015653-d442-4718-8e0e-140bab151380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Tags" minOccurs="0"/>
                <xsd:element ref="ns3:MediaServiceOCR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888a3a-9613-4736-b8cf-f212d38d32e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1" nillable="true" ma:displayName="Location" ma:internalName="MediaServiceLocation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015653-d442-4718-8e0e-140bab151380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Jaettu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Jakamisen tiedot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Jakamisvihjeen hajautus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43AC004-C085-4D53-BC3A-BFB6D15CF169}">
  <ds:schemaRefs>
    <ds:schemaRef ds:uri="f4015653-d442-4718-8e0e-140bab151380"/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0EA2ECDA-83CE-4AD3-BC65-9F6821763B39}">
  <ds:schemaRefs>
    <ds:schemaRef ds:uri="18888a3a-9613-4736-b8cf-f212d38d32e5"/>
    <ds:schemaRef ds:uri="f4015653-d442-4718-8e0e-140bab15138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0159B844-F195-4D26-97DD-6E2B728D2A0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0333</TotalTime>
  <Words>948</Words>
  <Application>Microsoft Office PowerPoint</Application>
  <PresentationFormat>Näytössä katseltava esitys (16:9)</PresentationFormat>
  <Paragraphs>232</Paragraphs>
  <Slides>18</Slides>
  <Notes>8</Notes>
  <HiddenSlides>0</HiddenSlides>
  <MMClips>0</MMClips>
  <ScaleCrop>false</ScaleCrop>
  <HeadingPairs>
    <vt:vector size="8" baseType="variant">
      <vt:variant>
        <vt:lpstr>Käytetyt fontit</vt:lpstr>
      </vt:variant>
      <vt:variant>
        <vt:i4>4</vt:i4>
      </vt:variant>
      <vt:variant>
        <vt:lpstr>Teema</vt:lpstr>
      </vt:variant>
      <vt:variant>
        <vt:i4>2</vt:i4>
      </vt:variant>
      <vt:variant>
        <vt:lpstr>Upotetut OLE-palvelimet</vt:lpstr>
      </vt:variant>
      <vt:variant>
        <vt:i4>2</vt:i4>
      </vt:variant>
      <vt:variant>
        <vt:lpstr>Dian otsikot</vt:lpstr>
      </vt:variant>
      <vt:variant>
        <vt:i4>18</vt:i4>
      </vt:variant>
    </vt:vector>
  </HeadingPairs>
  <TitlesOfParts>
    <vt:vector size="26" baseType="lpstr">
      <vt:lpstr>Arial</vt:lpstr>
      <vt:lpstr>Arial Black</vt:lpstr>
      <vt:lpstr>Arial Bold</vt:lpstr>
      <vt:lpstr>Verdana</vt:lpstr>
      <vt:lpstr>Teknologiateollisuus_masterdia</vt:lpstr>
      <vt:lpstr>1_Accenture aug2016</vt:lpstr>
      <vt:lpstr>think-cell Slide</vt:lpstr>
      <vt:lpstr>Macrobond document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esitys</dc:title>
  <dc:creator>Rautaporras Petteri</dc:creator>
  <cp:keywords>Teknologiateollisuus_FI</cp:keywords>
  <cp:lastModifiedBy>Kaijomaa Helvi</cp:lastModifiedBy>
  <cp:revision>138</cp:revision>
  <cp:lastPrinted>2020-08-06T06:12:28Z</cp:lastPrinted>
  <dcterms:created xsi:type="dcterms:W3CDTF">2019-10-17T09:08:24Z</dcterms:created>
  <dcterms:modified xsi:type="dcterms:W3CDTF">2022-05-02T10:28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vkameleonVerID">
    <vt:lpwstr>482.21.02.003</vt:lpwstr>
  </property>
  <property fmtid="{D5CDD505-2E9C-101B-9397-08002B2CF9AE}" pid="3" name="dvSaved">
    <vt:lpwstr>1</vt:lpwstr>
  </property>
  <property fmtid="{D5CDD505-2E9C-101B-9397-08002B2CF9AE}" pid="4" name="dvLanguage">
    <vt:lpwstr>1035</vt:lpwstr>
  </property>
  <property fmtid="{D5CDD505-2E9C-101B-9397-08002B2CF9AE}" pid="5" name="dvTemplate">
    <vt:lpwstr>Tekno_fi.potx</vt:lpwstr>
  </property>
  <property fmtid="{D5CDD505-2E9C-101B-9397-08002B2CF9AE}" pid="6" name="dvDefinition">
    <vt:lpwstr>23 (dd_default.xml)</vt:lpwstr>
  </property>
  <property fmtid="{D5CDD505-2E9C-101B-9397-08002B2CF9AE}" pid="7" name="dvDefinitionID">
    <vt:lpwstr>23</vt:lpwstr>
  </property>
  <property fmtid="{D5CDD505-2E9C-101B-9397-08002B2CF9AE}" pid="8" name="dvContentFile">
    <vt:lpwstr>dd_default.xml</vt:lpwstr>
  </property>
  <property fmtid="{D5CDD505-2E9C-101B-9397-08002B2CF9AE}" pid="9" name="dvGlobalVerID">
    <vt:lpwstr>482.90.02.003</vt:lpwstr>
  </property>
  <property fmtid="{D5CDD505-2E9C-101B-9397-08002B2CF9AE}" pid="10" name="dvDefinitionVersion">
    <vt:lpwstr>2.1 / 22.1.2015</vt:lpwstr>
  </property>
  <property fmtid="{D5CDD505-2E9C-101B-9397-08002B2CF9AE}" pid="11" name="filename">
    <vt:lpwstr>false</vt:lpwstr>
  </property>
  <property fmtid="{D5CDD505-2E9C-101B-9397-08002B2CF9AE}" pid="12" name="filenameandpath">
    <vt:lpwstr>false</vt:lpwstr>
  </property>
  <property fmtid="{D5CDD505-2E9C-101B-9397-08002B2CF9AE}" pid="13" name="dvPagenumberExist">
    <vt:lpwstr>1</vt:lpwstr>
  </property>
  <property fmtid="{D5CDD505-2E9C-101B-9397-08002B2CF9AE}" pid="14" name="dvAuthorExist">
    <vt:lpwstr>1</vt:lpwstr>
  </property>
  <property fmtid="{D5CDD505-2E9C-101B-9397-08002B2CF9AE}" pid="15" name="dvDateExist">
    <vt:lpwstr>-1</vt:lpwstr>
  </property>
  <property fmtid="{D5CDD505-2E9C-101B-9397-08002B2CF9AE}" pid="16" name="dvCategory">
    <vt:lpwstr>4</vt:lpwstr>
  </property>
  <property fmtid="{D5CDD505-2E9C-101B-9397-08002B2CF9AE}" pid="17" name="dvCategory_2">
    <vt:lpwstr>0</vt:lpwstr>
  </property>
  <property fmtid="{D5CDD505-2E9C-101B-9397-08002B2CF9AE}" pid="18" name="dvSavepath">
    <vt:lpwstr/>
  </property>
  <property fmtid="{D5CDD505-2E9C-101B-9397-08002B2CF9AE}" pid="19" name="dvUsed">
    <vt:lpwstr>1</vt:lpwstr>
  </property>
  <property fmtid="{D5CDD505-2E9C-101B-9397-08002B2CF9AE}" pid="20" name="dvCompany">
    <vt:lpwstr/>
  </property>
  <property fmtid="{D5CDD505-2E9C-101B-9397-08002B2CF9AE}" pid="21" name="dvSite">
    <vt:lpwstr/>
  </property>
  <property fmtid="{D5CDD505-2E9C-101B-9397-08002B2CF9AE}" pid="22" name="dvNumbering">
    <vt:lpwstr>0</vt:lpwstr>
  </property>
  <property fmtid="{D5CDD505-2E9C-101B-9397-08002B2CF9AE}" pid="23" name="dvDUname">
    <vt:lpwstr>Nora Elers</vt:lpwstr>
  </property>
  <property fmtid="{D5CDD505-2E9C-101B-9397-08002B2CF9AE}" pid="24" name="dvDUdepartment">
    <vt:lpwstr/>
  </property>
  <property fmtid="{D5CDD505-2E9C-101B-9397-08002B2CF9AE}" pid="25" name="dvLogoExist">
    <vt:lpwstr>0</vt:lpwstr>
  </property>
  <property fmtid="{D5CDD505-2E9C-101B-9397-08002B2CF9AE}" pid="26" name="dvCurrentlogo">
    <vt:lpwstr/>
  </property>
  <property fmtid="{D5CDD505-2E9C-101B-9397-08002B2CF9AE}" pid="27" name="ContentTypeId">
    <vt:lpwstr>0x010100B54E2ACC82FC5948B3BC53EE2688E412</vt:lpwstr>
  </property>
  <property fmtid="{D5CDD505-2E9C-101B-9397-08002B2CF9AE}" pid="28" name="TyoryhmanNimi">
    <vt:lpwstr>Talous ja tilastot</vt:lpwstr>
  </property>
</Properties>
</file>